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5"/>
  </p:notesMasterIdLst>
  <p:sldIdLst>
    <p:sldId id="257" r:id="rId2"/>
    <p:sldId id="1238" r:id="rId3"/>
    <p:sldId id="1240" r:id="rId4"/>
    <p:sldId id="1289" r:id="rId5"/>
    <p:sldId id="1246" r:id="rId6"/>
    <p:sldId id="1248" r:id="rId7"/>
    <p:sldId id="1277" r:id="rId8"/>
    <p:sldId id="1278" r:id="rId9"/>
    <p:sldId id="1292" r:id="rId10"/>
    <p:sldId id="1293" r:id="rId11"/>
    <p:sldId id="1294" r:id="rId12"/>
    <p:sldId id="1295" r:id="rId13"/>
    <p:sldId id="1251" r:id="rId14"/>
    <p:sldId id="1252" r:id="rId15"/>
    <p:sldId id="1288" r:id="rId16"/>
    <p:sldId id="1287" r:id="rId17"/>
    <p:sldId id="1279" r:id="rId18"/>
    <p:sldId id="1281" r:id="rId19"/>
    <p:sldId id="1282" r:id="rId20"/>
    <p:sldId id="1300" r:id="rId21"/>
    <p:sldId id="1301" r:id="rId22"/>
    <p:sldId id="1298" r:id="rId23"/>
    <p:sldId id="1299" r:id="rId24"/>
    <p:sldId id="1255" r:id="rId25"/>
    <p:sldId id="1258" r:id="rId26"/>
    <p:sldId id="1283" r:id="rId27"/>
    <p:sldId id="1284" r:id="rId28"/>
    <p:sldId id="1302" r:id="rId29"/>
    <p:sldId id="1303" r:id="rId30"/>
    <p:sldId id="1304" r:id="rId31"/>
    <p:sldId id="1305" r:id="rId32"/>
    <p:sldId id="1259" r:id="rId33"/>
    <p:sldId id="1306" r:id="rId34"/>
    <p:sldId id="1308" r:id="rId35"/>
    <p:sldId id="1263" r:id="rId36"/>
    <p:sldId id="1285" r:id="rId37"/>
    <p:sldId id="1286" r:id="rId38"/>
    <p:sldId id="1313" r:id="rId39"/>
    <p:sldId id="1314" r:id="rId40"/>
    <p:sldId id="1315" r:id="rId41"/>
    <p:sldId id="1316" r:id="rId42"/>
    <p:sldId id="1265" r:id="rId43"/>
    <p:sldId id="1317" r:id="rId44"/>
    <p:sldId id="1318" r:id="rId45"/>
    <p:sldId id="1266" r:id="rId46"/>
    <p:sldId id="1321" r:id="rId47"/>
    <p:sldId id="1322" r:id="rId48"/>
    <p:sldId id="1267" r:id="rId49"/>
    <p:sldId id="1323" r:id="rId50"/>
    <p:sldId id="1324" r:id="rId51"/>
    <p:sldId id="1268" r:id="rId52"/>
    <p:sldId id="1325" r:id="rId53"/>
    <p:sldId id="1275" r:id="rId5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F1C816-EABE-169B-567B-8C32E4E9DEC9}" name="Anna" initials="A" userId="S::M146896@one.merckgroup.com::66c792b9-6eac-43e1-a848-5b4c507a6f04" providerId="AD"/>
  <p188:author id="{976CB894-FB95-8A43-443A-A9D8E458E4A7}" name="Stanley Sweeney-Lasch" initials="SSL" userId="S::M160638@ONE.merckgroup.com::029d0180-2603-4f83-be45-90159e1e92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86" autoAdjust="0"/>
    <p:restoredTop sz="96357" autoAdjust="0"/>
  </p:normalViewPr>
  <p:slideViewPr>
    <p:cSldViewPr snapToGrid="0">
      <p:cViewPr varScale="1">
        <p:scale>
          <a:sx n="106" d="100"/>
          <a:sy n="106" d="100"/>
        </p:scale>
        <p:origin x="1170" y="78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D5664-0804-43C0-9CE2-80E411A01780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C8E8E-CD84-4E2F-A808-AEF89F7CBC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59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891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618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28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303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3991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800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706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8509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4523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571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Blue additional </a:t>
                </a:r>
                <a:r>
                  <a:rPr lang="de-DE" dirty="0" err="1"/>
                  <a:t>used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; </a:t>
                </a:r>
                <a:r>
                  <a:rPr lang="de-DE" dirty="0" err="1"/>
                  <a:t>red</a:t>
                </a:r>
                <a:r>
                  <a:rPr lang="de-DE" dirty="0"/>
                  <a:t> – </a:t>
                </a:r>
                <a:r>
                  <a:rPr lang="de-DE" dirty="0" err="1"/>
                  <a:t>preliminary</a:t>
                </a:r>
                <a:r>
                  <a:rPr lang="de-DE" dirty="0"/>
                  <a:t>, </a:t>
                </a:r>
                <a:r>
                  <a:rPr lang="de-DE" dirty="0" err="1"/>
                  <a:t>nee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discussed</a:t>
                </a:r>
                <a:r>
                  <a:rPr lang="de-DE" dirty="0"/>
                  <a:t> and </a:t>
                </a:r>
                <a:r>
                  <a:rPr lang="de-DE" dirty="0" err="1"/>
                  <a:t>maybe</a:t>
                </a:r>
                <a:r>
                  <a:rPr lang="de-DE" dirty="0"/>
                  <a:t> </a:t>
                </a:r>
                <a:r>
                  <a:rPr lang="de-DE" dirty="0" err="1"/>
                  <a:t>changed</a:t>
                </a:r>
                <a:r>
                  <a:rPr lang="de-DE" dirty="0"/>
                  <a:t> i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ear</a:t>
                </a:r>
                <a:r>
                  <a:rPr lang="de-DE" dirty="0"/>
                  <a:t> </a:t>
                </a:r>
                <a:r>
                  <a:rPr lang="de-DE" dirty="0" err="1"/>
                  <a:t>future</a:t>
                </a:r>
                <a:r>
                  <a:rPr lang="de-DE" dirty="0"/>
                  <a:t>;</a:t>
                </a:r>
              </a:p>
              <a:p>
                <a:endParaRPr lang="de-DE" dirty="0"/>
              </a:p>
              <a:p>
                <a:r>
                  <a:rPr lang="de-DE" dirty="0"/>
                  <a:t>Overall different </a:t>
                </a:r>
                <a:r>
                  <a:rPr lang="de-DE" dirty="0" err="1"/>
                  <a:t>assumptions</a:t>
                </a:r>
                <a:r>
                  <a:rPr lang="de-DE" dirty="0"/>
                  <a:t> </a:t>
                </a:r>
                <a:r>
                  <a:rPr lang="de-DE" dirty="0" err="1"/>
                  <a:t>were</a:t>
                </a:r>
                <a:r>
                  <a:rPr lang="de-DE" dirty="0"/>
                  <a:t> </a:t>
                </a:r>
                <a:r>
                  <a:rPr lang="de-DE" dirty="0" err="1"/>
                  <a:t>made</a:t>
                </a:r>
                <a:r>
                  <a:rPr lang="de-DE" dirty="0"/>
                  <a:t>: e.g.: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Media = pH7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𝐼𝑁𝑇𝐸𝑅𝑀〗_𝑐ℎ𝑎𝑟𝑔𝑒𝑑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  </a:t>
                </a:r>
                <a:r>
                  <a:rPr lang="en-US" dirty="0"/>
                  <a:t>and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𝐼𝑁𝑇𝐸𝑅𝑀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for exocytosis (no </a:t>
                </a:r>
                <a:r>
                  <a:rPr lang="en-US" sz="1200" i="0">
                    <a:latin typeface="Cambria Math" panose="02040503050406030204" pitchFamily="18" charset="0"/>
                  </a:rPr>
                  <a:t>〖</a:t>
                </a:r>
                <a:r>
                  <a:rPr lang="en-US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𝐴𝐷𝐶〗^(𝑒𝑛𝑑𝑜/𝑙𝑦𝑠𝑜),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𝐿𝐼𝑁𝐾𝐸𝑅〗^(</a:t>
                </a:r>
                <a:r>
                  <a:rPr lang="en-US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,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𝐿𝐼𝑁𝐾𝐸𝑅/𝑃𝐴𝐵𝐶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or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𝐷𝑅𝑈𝐺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unspecific protein binding of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𝑀^𝐷𝑟𝑢𝑔</a:t>
                </a:r>
                <a:r>
                  <a:rPr lang="en-US" dirty="0"/>
                  <a:t> (not yet of </a:t>
                </a:r>
                <a:r>
                  <a:rPr lang="en-US" b="0" i="0">
                    <a:latin typeface="Cambria Math" panose="02040503050406030204" pitchFamily="18" charset="0"/>
                  </a:rPr>
                  <a:t>𝑀_𝑐ℎ𝑎𝑟𝑔𝑒𝑑^𝐼𝑁𝑇𝐸𝑅𝑀</a:t>
                </a:r>
                <a:r>
                  <a:rPr lang="en-US" dirty="0"/>
                  <a:t> and </a:t>
                </a:r>
                <a:r>
                  <a:rPr lang="en-US" b="0" i="0">
                    <a:latin typeface="Cambria Math" panose="02040503050406030204" pitchFamily="18" charset="0"/>
                  </a:rPr>
                  <a:t>𝑀^𝐼𝑁𝑇𝐸𝑅𝑀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DRUG in </a:t>
                </a:r>
                <a:r>
                  <a:rPr lang="en-US" dirty="0" err="1"/>
                  <a:t>nuc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r>
                  <a:rPr lang="en-US" sz="120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𝐼</a:t>
                </a:r>
                <a:r>
                  <a:rPr lang="en-US" sz="1200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𝑁𝑇𝐸𝑅𝑀_𝐶ℎ𝑎𝑟𝑔𝑒𝑑</a:t>
                </a:r>
                <a:r>
                  <a:rPr lang="en-US" dirty="0">
                    <a:solidFill>
                      <a:srgbClr val="FF0000"/>
                    </a:solidFill>
                  </a:rPr>
                  <a:t> / can be degraded to </a:t>
                </a:r>
                <a:r>
                  <a:rPr lang="en-US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𝐷</a:t>
                </a:r>
                <a:r>
                  <a:rPr lang="en-US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𝑅𝑈𝐺</a:t>
                </a:r>
                <a:r>
                  <a:rPr lang="en-US" dirty="0"/>
                  <a:t>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 err="1"/>
                  <a:t>Targed</a:t>
                </a:r>
                <a:r>
                  <a:rPr lang="en-US" dirty="0"/>
                  <a:t> (</a:t>
                </a:r>
                <a:r>
                  <a:rPr lang="en-US" dirty="0" err="1"/>
                  <a:t>dna</a:t>
                </a:r>
                <a:r>
                  <a:rPr lang="en-US" dirty="0"/>
                  <a:t>) bound drug (bound covalently or not) is no longer available after cell death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388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143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1674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7369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695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3833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4443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5408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18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7029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199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𝑨𝒃</m:t>
                        </m:r>
                      </m:e>
                      <m:sub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𝒃𝒊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𝒎𝒋</m:t>
                        </m:r>
                      </m:sub>
                      <m:sup>
                        <m:r>
                          <a:rPr lang="de-DE" sz="20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𝑪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bSup>
                  </m:oMath>
                </a14:m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specific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rotei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of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distinctio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etwee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concern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the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000" dirty="0">
                    <a:solidFill>
                      <a:srgbClr val="FF0000"/>
                    </a:solidFill>
                  </a:rPr>
                  <a:t>, but Dru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in C2 -&gt;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(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</a:t>
                </a:r>
                <a:r>
                  <a:rPr lang="de-DE" sz="2000" dirty="0">
                    <a:solidFill>
                      <a:srgbClr val="FF0000"/>
                    </a:solidFill>
                  </a:rPr>
                  <a:t>-)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from</a:t>
                </a:r>
                <a:r>
                  <a:rPr lang="de-DE" sz="2000" dirty="0">
                    <a:solidFill>
                      <a:srgbClr val="FF0000"/>
                    </a:solidFill>
                  </a:rPr>
                  <a:t> Ab in C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2000" dirty="0">
                  <a:solidFill>
                    <a:srgbClr val="FF0000"/>
                  </a:solidFill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i="0">
                    <a:solidFill>
                      <a:srgbClr val="FF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𝑨𝒃〗_(𝒃𝒊,𝒎𝒋)^𝑪𝟏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040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5290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9091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750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85210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503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2636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1683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882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65759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012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2010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620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449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5206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4690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521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39857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11987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62840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93527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0876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re </a:t>
            </a:r>
            <a:r>
              <a:rPr lang="de-DE" dirty="0" err="1"/>
              <a:t>max</a:t>
            </a:r>
            <a:r>
              <a:rPr lang="de-DE" dirty="0"/>
              <a:t> = 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3234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954938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711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95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2273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322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0893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92EF7-2613-4E7F-8CD3-5E39A62BD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380169-6C89-4BE6-9F85-C20014BD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96D2E-9543-46AD-AA21-997221482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13858-728C-4F0B-B160-63C8F27EB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41E8-54B1-4C33-9940-0C136A27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254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21096-DB22-4055-B51F-ED980FDCB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42DEA-573D-4678-88C8-B1673A94FB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D1AAE-6325-4140-B692-7C1652E57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6C52-8C37-4E6A-B607-F8A88693E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8195D-3CCB-41F1-A0D2-41037EC8E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20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CED28-F59F-43FF-ACDE-BC2DB5D0C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52CD81-F6A2-4FF7-860F-D49C34ED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CEE806-AA94-415B-B277-FF9F9192D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F3B4F-4055-4BF2-8C7B-706E870E2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1FD2C-9C0F-4DF3-BE55-E17BEBC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764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69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554E-F125-4B7E-B5CD-111DD217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EB106-D311-4407-A0DC-9A919785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72568-05D7-4049-B86C-BCC5B6A1E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D9F78-4DB6-4090-98FB-661F04EB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C5DD1-CC80-47AB-B00D-9129435C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28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1E78-5EB2-41A3-A25F-51EB16310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A13E-4BAE-4140-86DD-6761CEAE7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47A79-E88A-4ADD-886E-CC5394D07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C220-740E-4C0F-82D0-4D65988C8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43EE5-FCDB-4810-A196-995DD220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8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B0815-708C-41A0-B903-98492A4C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65847-53F5-4CF8-9792-F5C735662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39D8B-0682-4C00-A7E2-FFC696F7C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50BAD-6E29-4B29-9365-376CA06B2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C1759-F6BB-4CC8-BD32-DBF09AE5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EF602-E31B-4977-BA8B-8E3C09AB0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777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E700B-ADF8-4205-8169-F47FEB966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A80E7-DEDE-4847-8954-16B619C85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D89EDC-1237-4321-B23A-2C850FF4F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0B569-232D-46C4-990E-BD238A557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69F5F-0AA9-473E-A264-525D0CE0C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3E3A2-780B-4868-94F4-2E1A6B18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3C4A3-27B4-4BFD-AC86-3189643DA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5CB811-202E-4F23-8BF9-70B08A35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3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D4D7-096D-462F-8E7D-FCAA7B1B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DF16C-89E4-461F-8989-BDE921056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1DB469-25B7-4165-950D-3D4E206AC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B2F1-AB96-407D-9988-4A147E9C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880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518B2-F984-40CA-A9D9-2ED9F2141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364D8F-75AB-40FE-AAF3-0634D12D6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29E3C-6249-49C9-8DEF-6C8FFC68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0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C1436-19A7-4CFD-BA13-D36284762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054C1-7264-46E6-85FC-895E6C9D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294CD-2EEC-4E26-A9DC-7205CC612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71FF01-49AD-4237-9B68-02D1C944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5F1F9-811E-483B-8B29-B9036C4BE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BA18D-633C-4905-9A5C-D6B558411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667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3035-8641-4287-95A2-BC973B186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132070-C395-4740-9BDC-637D8355AB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B4FDD4-0F3A-4603-84F1-2A05C89750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FFF18-4443-4862-92F2-C44219FB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75B6BD-A475-4DB1-9327-1AED9657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80679-D334-4CEA-8516-654C7A48B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8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565D8D-B0B4-4A78-91EF-0052C476E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79DFD-2F8D-40B6-9957-8E1C4CA37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C128-3CDE-42FD-A8A5-1C38B933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3DB0-70DC-4946-8566-169787166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9DF0E-3C74-4174-95D3-F579238E2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4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2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3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image" Target="../media/image8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image" Target="NULL"/><Relationship Id="rId84" Type="http://schemas.openxmlformats.org/officeDocument/2006/relationships/image" Target="../media/image9.png"/><Relationship Id="rId120" Type="http://schemas.openxmlformats.org/officeDocument/2006/relationships/image" Target="NULL"/><Relationship Id="rId125" Type="http://schemas.openxmlformats.org/officeDocument/2006/relationships/image" Target="../media/image20.png"/><Relationship Id="rId133" Type="http://schemas.openxmlformats.org/officeDocument/2006/relationships/image" Target="../media/image28.png"/><Relationship Id="rId138" Type="http://schemas.openxmlformats.org/officeDocument/2006/relationships/image" Target="../media/image33.png"/><Relationship Id="rId141" Type="http://schemas.openxmlformats.org/officeDocument/2006/relationships/image" Target="../media/image36.png"/><Relationship Id="rId146" Type="http://schemas.openxmlformats.org/officeDocument/2006/relationships/image" Target="../media/image41.png"/><Relationship Id="rId154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79" Type="http://schemas.openxmlformats.org/officeDocument/2006/relationships/image" Target="../media/image4.png"/><Relationship Id="rId87" Type="http://schemas.openxmlformats.org/officeDocument/2006/relationships/image" Target="../media/image12.png"/><Relationship Id="rId123" Type="http://schemas.openxmlformats.org/officeDocument/2006/relationships/image" Target="../media/image18.png"/><Relationship Id="rId128" Type="http://schemas.openxmlformats.org/officeDocument/2006/relationships/image" Target="../media/image23.png"/><Relationship Id="rId131" Type="http://schemas.openxmlformats.org/officeDocument/2006/relationships/image" Target="../media/image26.png"/><Relationship Id="rId136" Type="http://schemas.openxmlformats.org/officeDocument/2006/relationships/image" Target="../media/image31.png"/><Relationship Id="rId144" Type="http://schemas.openxmlformats.org/officeDocument/2006/relationships/image" Target="../media/image39.png"/><Relationship Id="rId149" Type="http://schemas.openxmlformats.org/officeDocument/2006/relationships/image" Target="../media/image46.png"/><Relationship Id="rId157" Type="http://schemas.openxmlformats.org/officeDocument/2006/relationships/image" Target="../media/image54.png"/><Relationship Id="rId82" Type="http://schemas.openxmlformats.org/officeDocument/2006/relationships/image" Target="../media/image7.png"/><Relationship Id="rId152" Type="http://schemas.openxmlformats.org/officeDocument/2006/relationships/image" Target="../media/image49.png"/><Relationship Id="rId4" Type="http://schemas.openxmlformats.org/officeDocument/2006/relationships/image" Target="../media/image3.png"/><Relationship Id="rId118" Type="http://schemas.openxmlformats.org/officeDocument/2006/relationships/image" Target="../media/image14.png"/><Relationship Id="rId126" Type="http://schemas.openxmlformats.org/officeDocument/2006/relationships/image" Target="../media/image21.png"/><Relationship Id="rId134" Type="http://schemas.openxmlformats.org/officeDocument/2006/relationships/image" Target="../media/image29.png"/><Relationship Id="rId139" Type="http://schemas.openxmlformats.org/officeDocument/2006/relationships/image" Target="../media/image34.png"/><Relationship Id="rId147" Type="http://schemas.openxmlformats.org/officeDocument/2006/relationships/image" Target="../media/image43.png"/><Relationship Id="rId80" Type="http://schemas.openxmlformats.org/officeDocument/2006/relationships/image" Target="../media/image5.png"/><Relationship Id="rId85" Type="http://schemas.openxmlformats.org/officeDocument/2006/relationships/image" Target="../media/image10.png"/><Relationship Id="rId121" Type="http://schemas.openxmlformats.org/officeDocument/2006/relationships/image" Target="../media/image16.png"/><Relationship Id="rId142" Type="http://schemas.openxmlformats.org/officeDocument/2006/relationships/image" Target="../media/image37.png"/><Relationship Id="rId150" Type="http://schemas.openxmlformats.org/officeDocument/2006/relationships/image" Target="../media/image47.png"/><Relationship Id="rId155" Type="http://schemas.openxmlformats.org/officeDocument/2006/relationships/image" Target="../media/image52.png"/><Relationship Id="rId3" Type="http://schemas.openxmlformats.org/officeDocument/2006/relationships/image" Target="../media/image213.png"/><Relationship Id="rId124" Type="http://schemas.openxmlformats.org/officeDocument/2006/relationships/image" Target="../media/image19.png"/><Relationship Id="rId129" Type="http://schemas.openxmlformats.org/officeDocument/2006/relationships/image" Target="../media/image24.png"/><Relationship Id="rId137" Type="http://schemas.openxmlformats.org/officeDocument/2006/relationships/image" Target="../media/image32.png"/><Relationship Id="rId158" Type="http://schemas.openxmlformats.org/officeDocument/2006/relationships/image" Target="../media/image55.png"/><Relationship Id="rId83" Type="http://schemas.openxmlformats.org/officeDocument/2006/relationships/image" Target="../media/image8.png"/><Relationship Id="rId88" Type="http://schemas.openxmlformats.org/officeDocument/2006/relationships/image" Target="../media/image13.png"/><Relationship Id="rId132" Type="http://schemas.openxmlformats.org/officeDocument/2006/relationships/image" Target="../media/image27.png"/><Relationship Id="rId140" Type="http://schemas.openxmlformats.org/officeDocument/2006/relationships/image" Target="../media/image35.png"/><Relationship Id="rId145" Type="http://schemas.openxmlformats.org/officeDocument/2006/relationships/image" Target="../media/image40.png"/><Relationship Id="rId153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119" Type="http://schemas.openxmlformats.org/officeDocument/2006/relationships/image" Target="../media/image15.png"/><Relationship Id="rId127" Type="http://schemas.openxmlformats.org/officeDocument/2006/relationships/image" Target="../media/image22.png"/><Relationship Id="rId78" Type="http://schemas.openxmlformats.org/officeDocument/2006/relationships/image" Target="NULL"/><Relationship Id="rId81" Type="http://schemas.openxmlformats.org/officeDocument/2006/relationships/image" Target="../media/image6.png"/><Relationship Id="rId86" Type="http://schemas.openxmlformats.org/officeDocument/2006/relationships/image" Target="../media/image11.png"/><Relationship Id="rId122" Type="http://schemas.openxmlformats.org/officeDocument/2006/relationships/image" Target="../media/image17.png"/><Relationship Id="rId130" Type="http://schemas.openxmlformats.org/officeDocument/2006/relationships/image" Target="../media/image25.png"/><Relationship Id="rId135" Type="http://schemas.openxmlformats.org/officeDocument/2006/relationships/image" Target="../media/image30.png"/><Relationship Id="rId143" Type="http://schemas.openxmlformats.org/officeDocument/2006/relationships/image" Target="../media/image38.png"/><Relationship Id="rId148" Type="http://schemas.openxmlformats.org/officeDocument/2006/relationships/image" Target="../media/image44.png"/><Relationship Id="rId151" Type="http://schemas.openxmlformats.org/officeDocument/2006/relationships/image" Target="../media/image48.png"/><Relationship Id="rId156" Type="http://schemas.openxmlformats.org/officeDocument/2006/relationships/image" Target="../media/image5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.png"/><Relationship Id="rId117" Type="http://schemas.openxmlformats.org/officeDocument/2006/relationships/image" Target="../media/image100.png"/><Relationship Id="rId21" Type="http://schemas.openxmlformats.org/officeDocument/2006/relationships/image" Target="../media/image190.png"/><Relationship Id="rId68" Type="http://schemas.openxmlformats.org/officeDocument/2006/relationships/image" Target="../media/image109.png"/><Relationship Id="rId89" Type="http://schemas.openxmlformats.org/officeDocument/2006/relationships/image" Target="../media/image129.png"/><Relationship Id="rId42" Type="http://schemas.openxmlformats.org/officeDocument/2006/relationships/image" Target="../media/image840.png"/><Relationship Id="rId112" Type="http://schemas.openxmlformats.org/officeDocument/2006/relationships/image" Target="../media/image96.png"/><Relationship Id="rId133" Type="http://schemas.openxmlformats.org/officeDocument/2006/relationships/image" Target="../media/image68.png"/><Relationship Id="rId138" Type="http://schemas.openxmlformats.org/officeDocument/2006/relationships/image" Target="../media/image73.png"/><Relationship Id="rId154" Type="http://schemas.openxmlformats.org/officeDocument/2006/relationships/image" Target="../media/image90.png"/><Relationship Id="rId159" Type="http://schemas.openxmlformats.org/officeDocument/2006/relationships/image" Target="../media/image95.png"/><Relationship Id="rId175" Type="http://schemas.openxmlformats.org/officeDocument/2006/relationships/image" Target="../media/image1.png"/><Relationship Id="rId170" Type="http://schemas.openxmlformats.org/officeDocument/2006/relationships/image" Target="../media/image128.png"/><Relationship Id="rId16" Type="http://schemas.openxmlformats.org/officeDocument/2006/relationships/image" Target="../media/image1012.png"/><Relationship Id="rId11" Type="http://schemas.openxmlformats.org/officeDocument/2006/relationships/image" Target="../media/image610.png"/><Relationship Id="rId53" Type="http://schemas.openxmlformats.org/officeDocument/2006/relationships/image" Target="../media/image930.png"/><Relationship Id="rId123" Type="http://schemas.openxmlformats.org/officeDocument/2006/relationships/image" Target="../media/image123.png"/><Relationship Id="rId128" Type="http://schemas.openxmlformats.org/officeDocument/2006/relationships/image" Target="../media/image63.png"/><Relationship Id="rId144" Type="http://schemas.openxmlformats.org/officeDocument/2006/relationships/image" Target="../media/image80.png"/><Relationship Id="rId149" Type="http://schemas.openxmlformats.org/officeDocument/2006/relationships/image" Target="../media/image85.png"/><Relationship Id="rId5" Type="http://schemas.openxmlformats.org/officeDocument/2006/relationships/image" Target="../media/image540.png"/><Relationship Id="rId90" Type="http://schemas.openxmlformats.org/officeDocument/2006/relationships/image" Target="../media/image130.png"/><Relationship Id="rId95" Type="http://schemas.openxmlformats.org/officeDocument/2006/relationships/image" Target="../media/image60.png"/><Relationship Id="rId160" Type="http://schemas.openxmlformats.org/officeDocument/2006/relationships/image" Target="../media/image97.png"/><Relationship Id="rId165" Type="http://schemas.openxmlformats.org/officeDocument/2006/relationships/image" Target="../media/image106.png"/><Relationship Id="rId181" Type="http://schemas.openxmlformats.org/officeDocument/2006/relationships/image" Target="../media/image144.png"/><Relationship Id="rId22" Type="http://schemas.openxmlformats.org/officeDocument/2006/relationships/image" Target="../media/image210.png"/><Relationship Id="rId113" Type="http://schemas.openxmlformats.org/officeDocument/2006/relationships/image" Target="../media/image153.png"/><Relationship Id="rId118" Type="http://schemas.openxmlformats.org/officeDocument/2006/relationships/image" Target="../media/image102.png"/><Relationship Id="rId134" Type="http://schemas.openxmlformats.org/officeDocument/2006/relationships/image" Target="../media/image69.png"/><Relationship Id="rId139" Type="http://schemas.openxmlformats.org/officeDocument/2006/relationships/image" Target="../media/image75.png"/><Relationship Id="rId150" Type="http://schemas.openxmlformats.org/officeDocument/2006/relationships/image" Target="../media/image86.png"/><Relationship Id="rId155" Type="http://schemas.openxmlformats.org/officeDocument/2006/relationships/image" Target="../media/image91.png"/><Relationship Id="rId171" Type="http://schemas.openxmlformats.org/officeDocument/2006/relationships/image" Target="../media/image133.png"/><Relationship Id="rId176" Type="http://schemas.openxmlformats.org/officeDocument/2006/relationships/image" Target="../media/image138.png"/><Relationship Id="rId12" Type="http://schemas.openxmlformats.org/officeDocument/2006/relationships/image" Target="../media/image620.png"/><Relationship Id="rId33" Type="http://schemas.openxmlformats.org/officeDocument/2006/relationships/image" Target="../media/image760.png"/><Relationship Id="rId103" Type="http://schemas.openxmlformats.org/officeDocument/2006/relationships/image" Target="../media/image74.png"/><Relationship Id="rId124" Type="http://schemas.openxmlformats.org/officeDocument/2006/relationships/image" Target="../media/image124.png"/><Relationship Id="rId129" Type="http://schemas.openxmlformats.org/officeDocument/2006/relationships/image" Target="../media/image64.png"/><Relationship Id="rId54" Type="http://schemas.openxmlformats.org/officeDocument/2006/relationships/image" Target="../media/image940.png"/><Relationship Id="rId75" Type="http://schemas.openxmlformats.org/officeDocument/2006/relationships/image" Target="../media/image115.png"/><Relationship Id="rId91" Type="http://schemas.openxmlformats.org/officeDocument/2006/relationships/image" Target="../media/image131.png"/><Relationship Id="rId140" Type="http://schemas.openxmlformats.org/officeDocument/2006/relationships/image" Target="../media/image76.png"/><Relationship Id="rId145" Type="http://schemas.openxmlformats.org/officeDocument/2006/relationships/image" Target="../media/image81.png"/><Relationship Id="rId161" Type="http://schemas.openxmlformats.org/officeDocument/2006/relationships/image" Target="../media/image98.png"/><Relationship Id="rId166" Type="http://schemas.openxmlformats.org/officeDocument/2006/relationships/image" Target="../media/image1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0.png"/><Relationship Id="rId23" Type="http://schemas.openxmlformats.org/officeDocument/2006/relationships/image" Target="../media/image220.png"/><Relationship Id="rId49" Type="http://schemas.openxmlformats.org/officeDocument/2006/relationships/image" Target="../media/image105.png"/><Relationship Id="rId114" Type="http://schemas.openxmlformats.org/officeDocument/2006/relationships/image" Target="../media/image120.png"/><Relationship Id="rId119" Type="http://schemas.openxmlformats.org/officeDocument/2006/relationships/image" Target="../media/image103.png"/><Relationship Id="rId44" Type="http://schemas.openxmlformats.org/officeDocument/2006/relationships/image" Target="../media/image860.png"/><Relationship Id="rId130" Type="http://schemas.openxmlformats.org/officeDocument/2006/relationships/image" Target="../media/image65.png"/><Relationship Id="rId135" Type="http://schemas.openxmlformats.org/officeDocument/2006/relationships/image" Target="../media/image70.png"/><Relationship Id="rId151" Type="http://schemas.openxmlformats.org/officeDocument/2006/relationships/image" Target="../media/image87.png"/><Relationship Id="rId156" Type="http://schemas.openxmlformats.org/officeDocument/2006/relationships/image" Target="../media/image92.png"/><Relationship Id="rId177" Type="http://schemas.openxmlformats.org/officeDocument/2006/relationships/image" Target="../media/image139.png"/><Relationship Id="rId172" Type="http://schemas.openxmlformats.org/officeDocument/2006/relationships/image" Target="../media/image134.png"/><Relationship Id="rId13" Type="http://schemas.openxmlformats.org/officeDocument/2006/relationships/image" Target="../media/image42.png"/><Relationship Id="rId18" Type="http://schemas.openxmlformats.org/officeDocument/2006/relationships/image" Target="../media/image660.png"/><Relationship Id="rId39" Type="http://schemas.openxmlformats.org/officeDocument/2006/relationships/image" Target="../media/image810.png"/><Relationship Id="rId50" Type="http://schemas.openxmlformats.org/officeDocument/2006/relationships/image" Target="../media/image57.png"/><Relationship Id="rId55" Type="http://schemas.openxmlformats.org/officeDocument/2006/relationships/image" Target="../media/image58.png"/><Relationship Id="rId120" Type="http://schemas.openxmlformats.org/officeDocument/2006/relationships/image" Target="../media/image113.png"/><Relationship Id="rId125" Type="http://schemas.openxmlformats.org/officeDocument/2006/relationships/image" Target="../media/image125.png"/><Relationship Id="rId141" Type="http://schemas.openxmlformats.org/officeDocument/2006/relationships/image" Target="../media/image77.png"/><Relationship Id="rId146" Type="http://schemas.openxmlformats.org/officeDocument/2006/relationships/image" Target="../media/image82.png"/><Relationship Id="rId167" Type="http://schemas.openxmlformats.org/officeDocument/2006/relationships/image" Target="../media/image119.png"/><Relationship Id="rId71" Type="http://schemas.openxmlformats.org/officeDocument/2006/relationships/image" Target="../media/image111.png"/><Relationship Id="rId92" Type="http://schemas.openxmlformats.org/officeDocument/2006/relationships/image" Target="../media/image132.png"/><Relationship Id="rId162" Type="http://schemas.openxmlformats.org/officeDocument/2006/relationships/image" Target="../media/image99.png"/><Relationship Id="rId2" Type="http://schemas.openxmlformats.org/officeDocument/2006/relationships/notesSlide" Target="../notesSlides/notesSlide3.xml"/><Relationship Id="rId24" Type="http://schemas.openxmlformats.org/officeDocument/2006/relationships/image" Target="../media/image680.png"/><Relationship Id="rId45" Type="http://schemas.openxmlformats.org/officeDocument/2006/relationships/image" Target="../media/image870.png"/><Relationship Id="rId40" Type="http://schemas.openxmlformats.org/officeDocument/2006/relationships/image" Target="../media/image820.png"/><Relationship Id="rId110" Type="http://schemas.openxmlformats.org/officeDocument/2006/relationships/image" Target="../media/image150.png"/><Relationship Id="rId131" Type="http://schemas.openxmlformats.org/officeDocument/2006/relationships/image" Target="../media/image66.png"/><Relationship Id="rId136" Type="http://schemas.openxmlformats.org/officeDocument/2006/relationships/image" Target="../media/image71.png"/><Relationship Id="rId157" Type="http://schemas.openxmlformats.org/officeDocument/2006/relationships/image" Target="../media/image93.png"/><Relationship Id="rId178" Type="http://schemas.openxmlformats.org/officeDocument/2006/relationships/image" Target="../media/image140.png"/><Relationship Id="rId61" Type="http://schemas.openxmlformats.org/officeDocument/2006/relationships/image" Target="../media/image1010.png"/><Relationship Id="rId152" Type="http://schemas.openxmlformats.org/officeDocument/2006/relationships/image" Target="../media/image88.png"/><Relationship Id="rId173" Type="http://schemas.openxmlformats.org/officeDocument/2006/relationships/image" Target="../media/image135.png"/><Relationship Id="rId19" Type="http://schemas.openxmlformats.org/officeDocument/2006/relationships/image" Target="../media/image180.png"/><Relationship Id="rId14" Type="http://schemas.openxmlformats.org/officeDocument/2006/relationships/image" Target="../media/image811.png"/><Relationship Id="rId30" Type="http://schemas.openxmlformats.org/officeDocument/2006/relationships/image" Target="../media/image260.png"/><Relationship Id="rId35" Type="http://schemas.openxmlformats.org/officeDocument/2006/relationships/image" Target="../media/image310.png"/><Relationship Id="rId56" Type="http://schemas.openxmlformats.org/officeDocument/2006/relationships/image" Target="../media/image59.png"/><Relationship Id="rId77" Type="http://schemas.openxmlformats.org/officeDocument/2006/relationships/image" Target="../media/image117.png"/><Relationship Id="rId126" Type="http://schemas.openxmlformats.org/officeDocument/2006/relationships/image" Target="../media/image61.png"/><Relationship Id="rId147" Type="http://schemas.openxmlformats.org/officeDocument/2006/relationships/image" Target="../media/image83.png"/><Relationship Id="rId168" Type="http://schemas.openxmlformats.org/officeDocument/2006/relationships/image" Target="../media/image126.png"/><Relationship Id="rId72" Type="http://schemas.openxmlformats.org/officeDocument/2006/relationships/image" Target="../media/image110.png"/><Relationship Id="rId93" Type="http://schemas.openxmlformats.org/officeDocument/2006/relationships/image" Target="../media/image114.png"/><Relationship Id="rId121" Type="http://schemas.openxmlformats.org/officeDocument/2006/relationships/image" Target="../media/image121.png"/><Relationship Id="rId142" Type="http://schemas.openxmlformats.org/officeDocument/2006/relationships/image" Target="../media/image78.png"/><Relationship Id="rId163" Type="http://schemas.openxmlformats.org/officeDocument/2006/relationships/image" Target="../media/image101.png"/><Relationship Id="rId3" Type="http://schemas.openxmlformats.org/officeDocument/2006/relationships/image" Target="../media/image280.png"/><Relationship Id="rId25" Type="http://schemas.openxmlformats.org/officeDocument/2006/relationships/image" Target="../media/image690.png"/><Relationship Id="rId46" Type="http://schemas.openxmlformats.org/officeDocument/2006/relationships/image" Target="../media/image56.png"/><Relationship Id="rId67" Type="http://schemas.openxmlformats.org/officeDocument/2006/relationships/image" Target="../media/image1070.png"/><Relationship Id="rId116" Type="http://schemas.openxmlformats.org/officeDocument/2006/relationships/image" Target="../media/image156.png"/><Relationship Id="rId137" Type="http://schemas.openxmlformats.org/officeDocument/2006/relationships/image" Target="../media/image72.png"/><Relationship Id="rId158" Type="http://schemas.openxmlformats.org/officeDocument/2006/relationships/image" Target="../media/image94.png"/><Relationship Id="rId62" Type="http://schemas.openxmlformats.org/officeDocument/2006/relationships/image" Target="../media/image108.png"/><Relationship Id="rId111" Type="http://schemas.openxmlformats.org/officeDocument/2006/relationships/image" Target="../media/image151.png"/><Relationship Id="rId132" Type="http://schemas.openxmlformats.org/officeDocument/2006/relationships/image" Target="../media/image67.png"/><Relationship Id="rId153" Type="http://schemas.openxmlformats.org/officeDocument/2006/relationships/image" Target="../media/image89.png"/><Relationship Id="rId174" Type="http://schemas.openxmlformats.org/officeDocument/2006/relationships/image" Target="../media/image136.png"/><Relationship Id="rId179" Type="http://schemas.openxmlformats.org/officeDocument/2006/relationships/image" Target="../media/image142.png"/><Relationship Id="rId36" Type="http://schemas.openxmlformats.org/officeDocument/2006/relationships/image" Target="../media/image45.png"/><Relationship Id="rId57" Type="http://schemas.openxmlformats.org/officeDocument/2006/relationships/image" Target="../media/image107.png"/><Relationship Id="rId127" Type="http://schemas.openxmlformats.org/officeDocument/2006/relationships/image" Target="../media/image62.png"/><Relationship Id="rId10" Type="http://schemas.openxmlformats.org/officeDocument/2006/relationships/image" Target="../media/image600.png"/><Relationship Id="rId52" Type="http://schemas.openxmlformats.org/officeDocument/2006/relationships/image" Target="../media/image450.png"/><Relationship Id="rId78" Type="http://schemas.openxmlformats.org/officeDocument/2006/relationships/image" Target="../media/image118.png"/><Relationship Id="rId94" Type="http://schemas.openxmlformats.org/officeDocument/2006/relationships/image" Target="../media/image116.png"/><Relationship Id="rId101" Type="http://schemas.openxmlformats.org/officeDocument/2006/relationships/image" Target="../media/image141.png"/><Relationship Id="rId122" Type="http://schemas.openxmlformats.org/officeDocument/2006/relationships/image" Target="../media/image122.png"/><Relationship Id="rId143" Type="http://schemas.openxmlformats.org/officeDocument/2006/relationships/image" Target="../media/image79.png"/><Relationship Id="rId148" Type="http://schemas.openxmlformats.org/officeDocument/2006/relationships/image" Target="../media/image84.png"/><Relationship Id="rId164" Type="http://schemas.openxmlformats.org/officeDocument/2006/relationships/image" Target="../media/image104.png"/><Relationship Id="rId169" Type="http://schemas.openxmlformats.org/officeDocument/2006/relationships/image" Target="../media/image127.png"/><Relationship Id="rId4" Type="http://schemas.openxmlformats.org/officeDocument/2006/relationships/image" Target="../media/image330.png"/><Relationship Id="rId9" Type="http://schemas.openxmlformats.org/officeDocument/2006/relationships/image" Target="../media/image590.png"/><Relationship Id="rId180" Type="http://schemas.openxmlformats.org/officeDocument/2006/relationships/image" Target="../media/image14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91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.png"/><Relationship Id="rId4" Type="http://schemas.openxmlformats.org/officeDocument/2006/relationships/image" Target="../media/image194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9.png"/><Relationship Id="rId18" Type="http://schemas.openxmlformats.org/officeDocument/2006/relationships/image" Target="../media/image164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" Type="http://schemas.openxmlformats.org/officeDocument/2006/relationships/image" Target="../media/image137.png"/><Relationship Id="rId16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8.png"/><Relationship Id="rId11" Type="http://schemas.openxmlformats.org/officeDocument/2006/relationships/image" Target="../media/image157.png"/><Relationship Id="rId5" Type="http://schemas.openxmlformats.org/officeDocument/2006/relationships/image" Target="../media/image147.png"/><Relationship Id="rId15" Type="http://schemas.openxmlformats.org/officeDocument/2006/relationships/image" Target="../media/image161.png"/><Relationship Id="rId10" Type="http://schemas.openxmlformats.org/officeDocument/2006/relationships/image" Target="../media/image155.png"/><Relationship Id="rId4" Type="http://schemas.openxmlformats.org/officeDocument/2006/relationships/image" Target="../media/image146.png"/><Relationship Id="rId9" Type="http://schemas.openxmlformats.org/officeDocument/2006/relationships/image" Target="../media/image154.png"/><Relationship Id="rId14" Type="http://schemas.openxmlformats.org/officeDocument/2006/relationships/image" Target="../media/image16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630.png"/><Relationship Id="rId7" Type="http://schemas.openxmlformats.org/officeDocument/2006/relationships/image" Target="NUL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0.png"/><Relationship Id="rId7" Type="http://schemas.openxmlformats.org/officeDocument/2006/relationships/image" Target="NUL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1.png"/><Relationship Id="rId7" Type="http://schemas.openxmlformats.org/officeDocument/2006/relationships/image" Target="NUL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2.png"/><Relationship Id="rId7" Type="http://schemas.openxmlformats.org/officeDocument/2006/relationships/image" Target="NUL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3.png"/><Relationship Id="rId7" Type="http://schemas.openxmlformats.org/officeDocument/2006/relationships/image" Target="NUL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4.png"/><Relationship Id="rId7" Type="http://schemas.openxmlformats.org/officeDocument/2006/relationships/image" Target="NUL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image" Target="NULL"/><Relationship Id="rId117" Type="http://schemas.openxmlformats.org/officeDocument/2006/relationships/image" Target="../media/image730.png"/><Relationship Id="rId21" Type="http://schemas.openxmlformats.org/officeDocument/2006/relationships/image" Target="NULL"/><Relationship Id="rId42" Type="http://schemas.openxmlformats.org/officeDocument/2006/relationships/image" Target="NULL"/><Relationship Id="rId63" Type="http://schemas.openxmlformats.org/officeDocument/2006/relationships/image" Target="NULL"/><Relationship Id="rId68" Type="http://schemas.openxmlformats.org/officeDocument/2006/relationships/image" Target="../media/image1470.png"/><Relationship Id="rId89" Type="http://schemas.openxmlformats.org/officeDocument/2006/relationships/image" Target="NULL"/><Relationship Id="rId112" Type="http://schemas.openxmlformats.org/officeDocument/2006/relationships/image" Target="../media/image701.png"/><Relationship Id="rId16" Type="http://schemas.openxmlformats.org/officeDocument/2006/relationships/image" Target="NULL"/><Relationship Id="rId107" Type="http://schemas.openxmlformats.org/officeDocument/2006/relationships/image" Target="../media/image681.png"/><Relationship Id="rId11" Type="http://schemas.openxmlformats.org/officeDocument/2006/relationships/image" Target="NULL"/><Relationship Id="rId32" Type="http://schemas.openxmlformats.org/officeDocument/2006/relationships/image" Target="NULL"/><Relationship Id="rId37" Type="http://schemas.openxmlformats.org/officeDocument/2006/relationships/image" Target="NULL"/><Relationship Id="rId53" Type="http://schemas.openxmlformats.org/officeDocument/2006/relationships/image" Target="NULL"/><Relationship Id="rId58" Type="http://schemas.openxmlformats.org/officeDocument/2006/relationships/image" Target="NULL"/><Relationship Id="rId74" Type="http://schemas.openxmlformats.org/officeDocument/2006/relationships/image" Target="../media/image640.png"/><Relationship Id="rId79" Type="http://schemas.openxmlformats.org/officeDocument/2006/relationships/image" Target="NULL"/><Relationship Id="rId102" Type="http://schemas.openxmlformats.org/officeDocument/2006/relationships/image" Target="NULL"/><Relationship Id="rId123" Type="http://schemas.openxmlformats.org/officeDocument/2006/relationships/image" Target="NULL"/><Relationship Id="rId128" Type="http://schemas.openxmlformats.org/officeDocument/2006/relationships/image" Target="NULL"/><Relationship Id="rId5" Type="http://schemas.openxmlformats.org/officeDocument/2006/relationships/image" Target="NULL"/><Relationship Id="rId90" Type="http://schemas.openxmlformats.org/officeDocument/2006/relationships/image" Target="NULL"/><Relationship Id="rId95" Type="http://schemas.openxmlformats.org/officeDocument/2006/relationships/image" Target="NULL"/><Relationship Id="rId22" Type="http://schemas.openxmlformats.org/officeDocument/2006/relationships/image" Target="NULL"/><Relationship Id="rId43" Type="http://schemas.openxmlformats.org/officeDocument/2006/relationships/image" Target="NULL"/><Relationship Id="rId48" Type="http://schemas.openxmlformats.org/officeDocument/2006/relationships/image" Target="NULL"/><Relationship Id="rId64" Type="http://schemas.openxmlformats.org/officeDocument/2006/relationships/image" Target="NULL"/><Relationship Id="rId69" Type="http://schemas.openxmlformats.org/officeDocument/2006/relationships/image" Target="NULL"/><Relationship Id="rId113" Type="http://schemas.openxmlformats.org/officeDocument/2006/relationships/image" Target="NULL"/><Relationship Id="rId118" Type="http://schemas.openxmlformats.org/officeDocument/2006/relationships/image" Target="../media/image740.png"/><Relationship Id="rId80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../media/image1450.png"/><Relationship Id="rId33" Type="http://schemas.openxmlformats.org/officeDocument/2006/relationships/image" Target="NULL"/><Relationship Id="rId38" Type="http://schemas.openxmlformats.org/officeDocument/2006/relationships/image" Target="NULL"/><Relationship Id="rId59" Type="http://schemas.openxmlformats.org/officeDocument/2006/relationships/image" Target="NULL"/><Relationship Id="rId103" Type="http://schemas.openxmlformats.org/officeDocument/2006/relationships/image" Target="NULL"/><Relationship Id="rId124" Type="http://schemas.openxmlformats.org/officeDocument/2006/relationships/image" Target="NULL"/><Relationship Id="rId129" Type="http://schemas.openxmlformats.org/officeDocument/2006/relationships/image" Target="NULL"/><Relationship Id="rId54" Type="http://schemas.openxmlformats.org/officeDocument/2006/relationships/image" Target="NULL"/><Relationship Id="rId70" Type="http://schemas.openxmlformats.org/officeDocument/2006/relationships/image" Target="../media/image621.png"/><Relationship Id="rId75" Type="http://schemas.openxmlformats.org/officeDocument/2006/relationships/image" Target="../media/image650.png"/><Relationship Id="rId91" Type="http://schemas.openxmlformats.org/officeDocument/2006/relationships/image" Target="NULL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49" Type="http://schemas.openxmlformats.org/officeDocument/2006/relationships/image" Target="NULL"/><Relationship Id="rId57" Type="http://schemas.openxmlformats.org/officeDocument/2006/relationships/image" Target="NULL"/><Relationship Id="rId106" Type="http://schemas.openxmlformats.org/officeDocument/2006/relationships/image" Target="NULL"/><Relationship Id="rId114" Type="http://schemas.openxmlformats.org/officeDocument/2006/relationships/image" Target="NULL"/><Relationship Id="rId127" Type="http://schemas.openxmlformats.org/officeDocument/2006/relationships/image" Target="NULL"/><Relationship Id="rId10" Type="http://schemas.openxmlformats.org/officeDocument/2006/relationships/image" Target="NULL"/><Relationship Id="rId31" Type="http://schemas.openxmlformats.org/officeDocument/2006/relationships/image" Target="NULL"/><Relationship Id="rId44" Type="http://schemas.openxmlformats.org/officeDocument/2006/relationships/image" Target="NULL"/><Relationship Id="rId52" Type="http://schemas.openxmlformats.org/officeDocument/2006/relationships/image" Target="NULL"/><Relationship Id="rId60" Type="http://schemas.openxmlformats.org/officeDocument/2006/relationships/image" Target="../media/image580.png"/><Relationship Id="rId65" Type="http://schemas.openxmlformats.org/officeDocument/2006/relationships/image" Target="NULL"/><Relationship Id="rId73" Type="http://schemas.openxmlformats.org/officeDocument/2006/relationships/image" Target="NULL"/><Relationship Id="rId78" Type="http://schemas.openxmlformats.org/officeDocument/2006/relationships/image" Target="NULL"/><Relationship Id="rId94" Type="http://schemas.openxmlformats.org/officeDocument/2006/relationships/image" Target="NULL"/><Relationship Id="rId99" Type="http://schemas.openxmlformats.org/officeDocument/2006/relationships/image" Target="../media/image670.png"/><Relationship Id="rId101" Type="http://schemas.openxmlformats.org/officeDocument/2006/relationships/image" Target="NULL"/><Relationship Id="rId122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9" Type="http://schemas.openxmlformats.org/officeDocument/2006/relationships/image" Target="NULL"/><Relationship Id="rId109" Type="http://schemas.openxmlformats.org/officeDocument/2006/relationships/image" Target="NULL"/><Relationship Id="rId34" Type="http://schemas.openxmlformats.org/officeDocument/2006/relationships/image" Target="NULL"/><Relationship Id="rId55" Type="http://schemas.openxmlformats.org/officeDocument/2006/relationships/image" Target="../media/image561.png"/><Relationship Id="rId76" Type="http://schemas.openxmlformats.org/officeDocument/2006/relationships/image" Target="../media/image1480.png"/><Relationship Id="rId97" Type="http://schemas.openxmlformats.org/officeDocument/2006/relationships/image" Target="../media/image661.png"/><Relationship Id="rId120" Type="http://schemas.openxmlformats.org/officeDocument/2006/relationships/image" Target="NULL"/><Relationship Id="rId125" Type="http://schemas.openxmlformats.org/officeDocument/2006/relationships/image" Target="NULL"/><Relationship Id="rId7" Type="http://schemas.openxmlformats.org/officeDocument/2006/relationships/image" Target="NULL"/><Relationship Id="rId71" Type="http://schemas.openxmlformats.org/officeDocument/2006/relationships/image" Target="../media/image630.png"/><Relationship Id="rId92" Type="http://schemas.openxmlformats.org/officeDocument/2006/relationships/image" Target="NULL"/><Relationship Id="rId2" Type="http://schemas.openxmlformats.org/officeDocument/2006/relationships/notesSlide" Target="../notesSlides/notesSlide4.xml"/><Relationship Id="rId29" Type="http://schemas.openxmlformats.org/officeDocument/2006/relationships/image" Target="NULL"/><Relationship Id="rId24" Type="http://schemas.openxmlformats.org/officeDocument/2006/relationships/image" Target="NULL"/><Relationship Id="rId40" Type="http://schemas.openxmlformats.org/officeDocument/2006/relationships/image" Target="NULL"/><Relationship Id="rId45" Type="http://schemas.openxmlformats.org/officeDocument/2006/relationships/image" Target="NULL"/><Relationship Id="rId66" Type="http://schemas.openxmlformats.org/officeDocument/2006/relationships/image" Target="../media/image601.png"/><Relationship Id="rId110" Type="http://schemas.openxmlformats.org/officeDocument/2006/relationships/image" Target="NULL"/><Relationship Id="rId115" Type="http://schemas.openxmlformats.org/officeDocument/2006/relationships/image" Target="../media/image710.png"/><Relationship Id="rId61" Type="http://schemas.openxmlformats.org/officeDocument/2006/relationships/image" Target="../media/image591.png"/><Relationship Id="rId19" Type="http://schemas.openxmlformats.org/officeDocument/2006/relationships/image" Target="NULL"/><Relationship Id="rId14" Type="http://schemas.openxmlformats.org/officeDocument/2006/relationships/image" Target="NULL"/><Relationship Id="rId30" Type="http://schemas.openxmlformats.org/officeDocument/2006/relationships/image" Target="NULL"/><Relationship Id="rId35" Type="http://schemas.openxmlformats.org/officeDocument/2006/relationships/image" Target="NULL"/><Relationship Id="rId56" Type="http://schemas.openxmlformats.org/officeDocument/2006/relationships/image" Target="../media/image570.png"/><Relationship Id="rId77" Type="http://schemas.openxmlformats.org/officeDocument/2006/relationships/image" Target="NULL"/><Relationship Id="rId100" Type="http://schemas.openxmlformats.org/officeDocument/2006/relationships/image" Target="NULL"/><Relationship Id="rId126" Type="http://schemas.openxmlformats.org/officeDocument/2006/relationships/image" Target="NULL"/><Relationship Id="rId51" Type="http://schemas.openxmlformats.org/officeDocument/2006/relationships/image" Target="NULL"/><Relationship Id="rId72" Type="http://schemas.openxmlformats.org/officeDocument/2006/relationships/image" Target="NULL"/><Relationship Id="rId93" Type="http://schemas.openxmlformats.org/officeDocument/2006/relationships/image" Target="NULL"/><Relationship Id="rId98" Type="http://schemas.openxmlformats.org/officeDocument/2006/relationships/image" Target="NULL"/><Relationship Id="rId121" Type="http://schemas.openxmlformats.org/officeDocument/2006/relationships/image" Target="NULL"/><Relationship Id="rId3" Type="http://schemas.openxmlformats.org/officeDocument/2006/relationships/image" Target="NULL"/><Relationship Id="rId25" Type="http://schemas.openxmlformats.org/officeDocument/2006/relationships/image" Target="NULL"/><Relationship Id="rId67" Type="http://schemas.openxmlformats.org/officeDocument/2006/relationships/image" Target="../media/image611.png"/><Relationship Id="rId116" Type="http://schemas.openxmlformats.org/officeDocument/2006/relationships/image" Target="../media/image720.png"/><Relationship Id="rId20" Type="http://schemas.openxmlformats.org/officeDocument/2006/relationships/image" Target="NULL"/><Relationship Id="rId41" Type="http://schemas.openxmlformats.org/officeDocument/2006/relationships/image" Target="NULL"/><Relationship Id="rId62" Type="http://schemas.openxmlformats.org/officeDocument/2006/relationships/image" Target="../media/image1460.png"/><Relationship Id="rId111" Type="http://schemas.openxmlformats.org/officeDocument/2006/relationships/image" Target="../media/image69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7" Type="http://schemas.openxmlformats.org/officeDocument/2006/relationships/image" Target="NUL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7" Type="http://schemas.openxmlformats.org/officeDocument/2006/relationships/image" Target="NUL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D046A-45E0-4486-AEEE-579F4874F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xAb</a:t>
            </a:r>
            <a:r>
              <a:rPr lang="en-US" dirty="0"/>
              <a:t> Shuttle in-vivo</a:t>
            </a:r>
            <a:br>
              <a:rPr lang="en-US" sz="3000" dirty="0"/>
            </a:br>
            <a:endParaRPr lang="de-DE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41AE85-492B-4830-9B8D-C23F6D9A3650}"/>
              </a:ext>
            </a:extLst>
          </p:cNvPr>
          <p:cNvSpPr txBox="1"/>
          <p:nvPr/>
        </p:nvSpPr>
        <p:spPr>
          <a:xfrm>
            <a:off x="515470" y="1555567"/>
            <a:ext cx="102714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4-06-03 Created</a:t>
            </a:r>
          </a:p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/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2800" dirty="0">
                    <a:solidFill>
                      <a:srgbClr val="FF0000"/>
                    </a:solidFill>
                  </a:rPr>
                  <a:t>!! Be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war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pp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b </a:t>
                </a:r>
              </a:p>
              <a:p>
                <a:pPr algn="ctr"/>
                <a:r>
                  <a:rPr lang="de-DE" sz="2800" dirty="0" err="1">
                    <a:solidFill>
                      <a:srgbClr val="FF0000"/>
                    </a:solidFill>
                  </a:rPr>
                  <a:t>correspon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o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os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in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i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DC !!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E.g.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	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2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app</a:t>
                </a: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blipFill>
                <a:blip r:embed="rId4"/>
                <a:stretch>
                  <a:fillRect l="-1421" t="-3020" r="-947" b="-87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3480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Metabolites1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5836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192287" y="372120"/>
            <a:ext cx="226402" cy="5511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38121" y="3218993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8406557" y="674016"/>
            <a:ext cx="287662" cy="49087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7775814" y="3278170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11702317" y="21644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10768149" y="33160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92407" y="2304988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501316" y="473935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641727" y="483828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07559" y="598991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573102" y="3333434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637692" y="6005345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286613" y="483853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463282" y="599188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50624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95834" y="3435650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360424" y="6107561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009345" y="494075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86014" y="609409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576060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90922" y="-206940"/>
                <a:ext cx="11401078" cy="60357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922" y="-206940"/>
                <a:ext cx="11401078" cy="6035755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DE17C5C-5813-46B5-90DD-9797520AECF8}"/>
              </a:ext>
            </a:extLst>
          </p:cNvPr>
          <p:cNvSpPr/>
          <p:nvPr/>
        </p:nvSpPr>
        <p:spPr>
          <a:xfrm rot="5400000">
            <a:off x="4447886" y="511035"/>
            <a:ext cx="343498" cy="181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4706F6B6-61CC-41A6-97ED-042988EFD28C}"/>
              </a:ext>
            </a:extLst>
          </p:cNvPr>
          <p:cNvSpPr/>
          <p:nvPr/>
        </p:nvSpPr>
        <p:spPr>
          <a:xfrm rot="5400000">
            <a:off x="6343726" y="508154"/>
            <a:ext cx="369333" cy="18153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1973121" y="1415474"/>
            <a:ext cx="165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 of dru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6A6BCA-7FE5-41F3-A91E-12C89FA7FF0D}"/>
              </a:ext>
            </a:extLst>
          </p:cNvPr>
          <p:cNvSpPr txBox="1"/>
          <p:nvPr/>
        </p:nvSpPr>
        <p:spPr>
          <a:xfrm>
            <a:off x="3994044" y="1463325"/>
            <a:ext cx="1602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peripheral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6B7F44-CC28-47B8-A1D7-96ADB6A17884}"/>
              </a:ext>
            </a:extLst>
          </p:cNvPr>
          <p:cNvSpPr txBox="1"/>
          <p:nvPr/>
        </p:nvSpPr>
        <p:spPr>
          <a:xfrm>
            <a:off x="5817946" y="1463324"/>
            <a:ext cx="1814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peripheral spa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23022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Drug in central compartment/plasma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E2A895B9-ADD7-42F7-B365-A06FE85088DB}"/>
              </a:ext>
            </a:extLst>
          </p:cNvPr>
          <p:cNvSpPr/>
          <p:nvPr/>
        </p:nvSpPr>
        <p:spPr>
          <a:xfrm rot="5400000">
            <a:off x="3723648" y="1061807"/>
            <a:ext cx="285603" cy="6151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D6F728-669B-408C-B2BC-311AAB3BF8E1}"/>
              </a:ext>
            </a:extLst>
          </p:cNvPr>
          <p:cNvSpPr txBox="1"/>
          <p:nvPr/>
        </p:nvSpPr>
        <p:spPr>
          <a:xfrm>
            <a:off x="2884413" y="4240283"/>
            <a:ext cx="2219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and from protein binding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8555498" y="325523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7799345" y="1463324"/>
            <a:ext cx="17699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i </a:t>
            </a:r>
            <a:r>
              <a:rPr lang="en-US" sz="1400" dirty="0" err="1"/>
              <a:t>Protacs</a:t>
            </a:r>
            <a:endParaRPr lang="en-US" sz="1400" dirty="0"/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81BB860-7C5A-6D1B-69DA-013EA9DA1381}"/>
              </a:ext>
            </a:extLst>
          </p:cNvPr>
          <p:cNvSpPr/>
          <p:nvPr/>
        </p:nvSpPr>
        <p:spPr>
          <a:xfrm rot="5400000">
            <a:off x="7705319" y="32937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D70C07D-7B06-9E76-B6FE-6498942E20BB}"/>
              </a:ext>
            </a:extLst>
          </p:cNvPr>
          <p:cNvSpPr txBox="1"/>
          <p:nvPr/>
        </p:nvSpPr>
        <p:spPr>
          <a:xfrm>
            <a:off x="7066419" y="41701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432D489A-D6DC-ABD1-C5E0-F0B6A3D6B24E}"/>
              </a:ext>
            </a:extLst>
          </p:cNvPr>
          <p:cNvSpPr/>
          <p:nvPr/>
        </p:nvSpPr>
        <p:spPr>
          <a:xfrm rot="5400000">
            <a:off x="3185554" y="306117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9DB341F6-7A90-55C0-B9E5-589918DAE7E0}"/>
              </a:ext>
            </a:extLst>
          </p:cNvPr>
          <p:cNvSpPr txBox="1"/>
          <p:nvPr/>
        </p:nvSpPr>
        <p:spPr>
          <a:xfrm>
            <a:off x="2396678" y="588232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9C27D06B-2C75-83D4-10BD-EC4A487F3CD1}"/>
              </a:ext>
            </a:extLst>
          </p:cNvPr>
          <p:cNvSpPr/>
          <p:nvPr/>
        </p:nvSpPr>
        <p:spPr>
          <a:xfrm rot="5400000">
            <a:off x="7498100" y="419233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70A6BC86-24E2-E45F-96FF-D206835EED08}"/>
              </a:ext>
            </a:extLst>
          </p:cNvPr>
          <p:cNvSpPr txBox="1"/>
          <p:nvPr/>
        </p:nvSpPr>
        <p:spPr>
          <a:xfrm>
            <a:off x="6570570" y="585565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7865074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b="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blipFill>
                <a:blip r:embed="rId3"/>
                <a:stretch>
                  <a:fillRect l="-5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374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nM) of drug bound to unspecific protein in central compartment/plasma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F737D940-14A1-4B7A-9065-B6F04DA871BC}"/>
              </a:ext>
            </a:extLst>
          </p:cNvPr>
          <p:cNvSpPr/>
          <p:nvPr/>
        </p:nvSpPr>
        <p:spPr>
          <a:xfrm rot="5400000">
            <a:off x="6897119" y="269119"/>
            <a:ext cx="127026" cy="3260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4B58F047-AE9F-49EC-8616-5B9ECF216CC3}"/>
              </a:ext>
            </a:extLst>
          </p:cNvPr>
          <p:cNvSpPr/>
          <p:nvPr/>
        </p:nvSpPr>
        <p:spPr>
          <a:xfrm rot="5400000">
            <a:off x="3553030" y="256237"/>
            <a:ext cx="127025" cy="3260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A8AEF1-59C0-4566-AF83-ECE97E2C9F99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50B2E0-8F1D-4A1D-BEBD-6B72438681BB}"/>
              </a:ext>
            </a:extLst>
          </p:cNvPr>
          <p:cNvSpPr txBox="1"/>
          <p:nvPr/>
        </p:nvSpPr>
        <p:spPr>
          <a:xfrm>
            <a:off x="151002" y="5784918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/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27D9754-340B-4BA0-B04D-E74B31B8BEB2}"/>
              </a:ext>
            </a:extLst>
          </p:cNvPr>
          <p:cNvSpPr txBox="1"/>
          <p:nvPr/>
        </p:nvSpPr>
        <p:spPr>
          <a:xfrm>
            <a:off x="2521577" y="1911497"/>
            <a:ext cx="32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bin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ECA5FD-B274-46D8-8572-92C7D06E42AD}"/>
              </a:ext>
            </a:extLst>
          </p:cNvPr>
          <p:cNvSpPr txBox="1"/>
          <p:nvPr/>
        </p:nvSpPr>
        <p:spPr>
          <a:xfrm>
            <a:off x="5910645" y="1933904"/>
            <a:ext cx="3790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unbinding</a:t>
            </a:r>
          </a:p>
        </p:txBody>
      </p:sp>
    </p:spTree>
    <p:extLst>
      <p:ext uri="{BB962C8B-B14F-4D97-AF65-F5344CB8AC3E}">
        <p14:creationId xmlns:p14="http://schemas.microsoft.com/office/powerpoint/2010/main" val="1852402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4743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0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4743030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168850" y="1417157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97901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Metabolite1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4783697" y="308326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3940309" y="1446127"/>
            <a:ext cx="1944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j Metabolites1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7137655" y="530279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6498755" y="1406655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F1C71063-EBBB-29B7-2A8A-8E0252EE7EE1}"/>
              </a:ext>
            </a:extLst>
          </p:cNvPr>
          <p:cNvSpPr/>
          <p:nvPr/>
        </p:nvSpPr>
        <p:spPr>
          <a:xfrm rot="5400000">
            <a:off x="3335047" y="167395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8988268-6541-3CC2-2D6A-983C40C5C7FB}"/>
              </a:ext>
            </a:extLst>
          </p:cNvPr>
          <p:cNvSpPr txBox="1"/>
          <p:nvPr/>
        </p:nvSpPr>
        <p:spPr>
          <a:xfrm>
            <a:off x="2546171" y="4495101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265414-4C04-0F99-72F4-346A18928765}"/>
              </a:ext>
            </a:extLst>
          </p:cNvPr>
          <p:cNvSpPr/>
          <p:nvPr/>
        </p:nvSpPr>
        <p:spPr>
          <a:xfrm rot="5400000">
            <a:off x="7647593" y="2805110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BD8393C9-2147-42B2-0902-B3F1B456C1BB}"/>
              </a:ext>
            </a:extLst>
          </p:cNvPr>
          <p:cNvSpPr txBox="1"/>
          <p:nvPr/>
        </p:nvSpPr>
        <p:spPr>
          <a:xfrm>
            <a:off x="6720063" y="4468437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9258331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251682" y="1415474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9954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Metabolite2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D528DDE0-2DBE-1ADD-CECB-19068064E7F1}"/>
              </a:ext>
            </a:extLst>
          </p:cNvPr>
          <p:cNvSpPr/>
          <p:nvPr/>
        </p:nvSpPr>
        <p:spPr>
          <a:xfrm rot="5400000">
            <a:off x="4583930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581915A-7503-7072-B81D-E76BCE3A2BC8}"/>
              </a:ext>
            </a:extLst>
          </p:cNvPr>
          <p:cNvSpPr txBox="1"/>
          <p:nvPr/>
        </p:nvSpPr>
        <p:spPr>
          <a:xfrm>
            <a:off x="3945030" y="1415474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319259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0562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9754409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3237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peripheral compartment 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03066" y="37917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302729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4837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blipFill>
                <a:blip r:embed="rId7"/>
                <a:stretch>
                  <a:fillRect l="-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824728" y="220683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1694286" y="377147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425252" y="26249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491084" y="37765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041784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gen 3">
            <a:extLst>
              <a:ext uri="{FF2B5EF4-FFF2-40B4-BE49-F238E27FC236}">
                <a16:creationId xmlns:a16="http://schemas.microsoft.com/office/drawing/2014/main" id="{5E1EAB7D-B8CA-43C5-81C1-11176B70DF5C}"/>
              </a:ext>
            </a:extLst>
          </p:cNvPr>
          <p:cNvSpPr/>
          <p:nvPr/>
        </p:nvSpPr>
        <p:spPr>
          <a:xfrm>
            <a:off x="10403732" y="1681053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0F34715-1314-474F-9589-1B57B7A5D719}"/>
              </a:ext>
            </a:extLst>
          </p:cNvPr>
          <p:cNvSpPr txBox="1"/>
          <p:nvPr/>
        </p:nvSpPr>
        <p:spPr>
          <a:xfrm>
            <a:off x="6641365" y="861968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rgbClr val="EB3C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/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597CA25B-165F-419C-900E-554630713415}"/>
              </a:ext>
            </a:extLst>
          </p:cNvPr>
          <p:cNvGrpSpPr/>
          <p:nvPr/>
        </p:nvGrpSpPr>
        <p:grpSpPr>
          <a:xfrm>
            <a:off x="49401" y="837128"/>
            <a:ext cx="3098923" cy="5183529"/>
            <a:chOff x="-2177423" y="1130348"/>
            <a:chExt cx="3098923" cy="51835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/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b="0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C56FE7E-DDBB-4FDF-BC75-06687D5B2E35}"/>
                </a:ext>
              </a:extLst>
            </p:cNvPr>
            <p:cNvGrpSpPr/>
            <p:nvPr/>
          </p:nvGrpSpPr>
          <p:grpSpPr>
            <a:xfrm>
              <a:off x="-2177423" y="1130348"/>
              <a:ext cx="3098923" cy="5183529"/>
              <a:chOff x="-1600640" y="1100065"/>
              <a:chExt cx="3098923" cy="5183529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F027515E-C17D-49A9-A773-4F424FF146C8}"/>
                  </a:ext>
                </a:extLst>
              </p:cNvPr>
              <p:cNvGrpSpPr/>
              <p:nvPr/>
            </p:nvGrpSpPr>
            <p:grpSpPr>
              <a:xfrm>
                <a:off x="-1600640" y="1127030"/>
                <a:ext cx="1320230" cy="4568066"/>
                <a:chOff x="-463861" y="2313277"/>
                <a:chExt cx="1320230" cy="4568066"/>
              </a:xfrm>
            </p:grpSpPr>
            <p:sp>
              <p:nvSpPr>
                <p:cNvPr id="158" name="Ellipse 157">
                  <a:extLst>
                    <a:ext uri="{FF2B5EF4-FFF2-40B4-BE49-F238E27FC236}">
                      <a16:creationId xmlns:a16="http://schemas.microsoft.com/office/drawing/2014/main" id="{CCC32A58-0D88-496D-805A-9877AAC2E71A}"/>
                    </a:ext>
                  </a:extLst>
                </p:cNvPr>
                <p:cNvSpPr/>
                <p:nvPr/>
              </p:nvSpPr>
              <p:spPr bwMode="gray">
                <a:xfrm>
                  <a:off x="-463861" y="4128415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69580902-7DBC-4E1F-8B9C-A70BBBA31E6B}"/>
                    </a:ext>
                  </a:extLst>
                </p:cNvPr>
                <p:cNvSpPr/>
                <p:nvPr/>
              </p:nvSpPr>
              <p:spPr bwMode="gray">
                <a:xfrm>
                  <a:off x="-323964" y="6249392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5622CEC1-8C5B-4BD1-8712-CA8FB5BBAA16}"/>
                    </a:ext>
                  </a:extLst>
                </p:cNvPr>
                <p:cNvSpPr txBox="1"/>
                <p:nvPr/>
              </p:nvSpPr>
              <p:spPr bwMode="gray">
                <a:xfrm>
                  <a:off x="-311075" y="2313277"/>
                  <a:ext cx="1167444" cy="15388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eripheral</a:t>
                  </a:r>
                  <a:r>
                    <a:rPr lang="de-DE" sz="1000" dirty="0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</a:t>
                  </a: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space</a:t>
                  </a:r>
                  <a:endParaRPr lang="de-DE" sz="1000" dirty="0">
                    <a:solidFill>
                      <a:schemeClr val="accent2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161" name="Gruppieren 160">
                <a:extLst>
                  <a:ext uri="{FF2B5EF4-FFF2-40B4-BE49-F238E27FC236}">
                    <a16:creationId xmlns:a16="http://schemas.microsoft.com/office/drawing/2014/main" id="{34B8E7D9-98A2-4370-BC99-F28CB1FF1744}"/>
                  </a:ext>
                </a:extLst>
              </p:cNvPr>
              <p:cNvGrpSpPr/>
              <p:nvPr/>
            </p:nvGrpSpPr>
            <p:grpSpPr>
              <a:xfrm>
                <a:off x="-934551" y="1100065"/>
                <a:ext cx="2432834" cy="4582667"/>
                <a:chOff x="-844126" y="2299572"/>
                <a:chExt cx="2432834" cy="4582667"/>
              </a:xfrm>
            </p:grpSpPr>
            <p:sp>
              <p:nvSpPr>
                <p:cNvPr id="169" name="Ellipse 168">
                  <a:extLst>
                    <a:ext uri="{FF2B5EF4-FFF2-40B4-BE49-F238E27FC236}">
                      <a16:creationId xmlns:a16="http://schemas.microsoft.com/office/drawing/2014/main" id="{6092DB94-236D-4B91-AE57-2367C6818846}"/>
                    </a:ext>
                  </a:extLst>
                </p:cNvPr>
                <p:cNvSpPr/>
                <p:nvPr/>
              </p:nvSpPr>
              <p:spPr bwMode="gray">
                <a:xfrm>
                  <a:off x="-844126" y="3039863"/>
                  <a:ext cx="1995072" cy="145295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64" name="Ellipse 163">
                  <a:extLst>
                    <a:ext uri="{FF2B5EF4-FFF2-40B4-BE49-F238E27FC236}">
                      <a16:creationId xmlns:a16="http://schemas.microsoft.com/office/drawing/2014/main" id="{3D64C792-1F02-40CD-A804-1105EAF2B357}"/>
                    </a:ext>
                  </a:extLst>
                </p:cNvPr>
                <p:cNvSpPr/>
                <p:nvPr/>
              </p:nvSpPr>
              <p:spPr bwMode="gray">
                <a:xfrm>
                  <a:off x="-41973" y="6250288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71" name="Textfeld 170">
                  <a:extLst>
                    <a:ext uri="{FF2B5EF4-FFF2-40B4-BE49-F238E27FC236}">
                      <a16:creationId xmlns:a16="http://schemas.microsoft.com/office/drawing/2014/main" id="{88671C54-2270-482E-B8F8-CC1C8D0B0A1A}"/>
                    </a:ext>
                  </a:extLst>
                </p:cNvPr>
                <p:cNvSpPr txBox="1"/>
                <p:nvPr/>
              </p:nvSpPr>
              <p:spPr bwMode="gray">
                <a:xfrm>
                  <a:off x="-24818" y="2299572"/>
                  <a:ext cx="1613526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entral </a:t>
                  </a:r>
                  <a:r>
                    <a:rPr lang="de-DE" sz="1000" dirty="0" err="1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ompartment</a:t>
                  </a: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(Plasma)</a:t>
                  </a:r>
                </a:p>
              </p:txBody>
            </p:sp>
          </p:grpSp>
          <p:cxnSp>
            <p:nvCxnSpPr>
              <p:cNvPr id="173" name="Gerade Verbindung mit Pfeil 172">
                <a:extLst>
                  <a:ext uri="{FF2B5EF4-FFF2-40B4-BE49-F238E27FC236}">
                    <a16:creationId xmlns:a16="http://schemas.microsoft.com/office/drawing/2014/main" id="{D210E67F-46B9-4939-AAB3-D508BCD57C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783856" y="5380921"/>
                <a:ext cx="550017" cy="2431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/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blipFill>
                    <a:blip r:embed="rId7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3" name="Gerade Verbindung mit Pfeil 182">
                <a:extLst>
                  <a:ext uri="{FF2B5EF4-FFF2-40B4-BE49-F238E27FC236}">
                    <a16:creationId xmlns:a16="http://schemas.microsoft.com/office/drawing/2014/main" id="{CF3CB4B7-A1FB-4EFF-8047-8A30A3C06F53}"/>
                  </a:ext>
                </a:extLst>
              </p:cNvPr>
              <p:cNvCxnSpPr>
                <a:cxnSpLocks/>
                <a:stCxn id="436" idx="0"/>
                <a:endCxn id="439" idx="2"/>
              </p:cNvCxnSpPr>
              <p:nvPr/>
            </p:nvCxnSpPr>
            <p:spPr>
              <a:xfrm flipH="1" flipV="1">
                <a:off x="112510" y="3182465"/>
                <a:ext cx="46814" cy="195586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/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blipFill>
                    <a:blip r:embed="rId7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/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̅"/>
                              <m:ctrlPr>
                                <a:rPr lang="en-US" sz="65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65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oMath>
                      </m:oMathPara>
                    </a14:m>
                    <a:endParaRPr lang="de-DE" sz="650" dirty="0">
                      <a:solidFill>
                        <a:srgbClr val="00B0F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blipFill>
                    <a:blip r:embed="rId8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8" name="Gerade Verbindung mit Pfeil 187">
                <a:extLst>
                  <a:ext uri="{FF2B5EF4-FFF2-40B4-BE49-F238E27FC236}">
                    <a16:creationId xmlns:a16="http://schemas.microsoft.com/office/drawing/2014/main" id="{81F75526-ED57-4AEB-A0C9-52F8174B5A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1081785" y="3109821"/>
                <a:ext cx="847946" cy="72644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/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blipFill>
                    <a:blip r:embed="rId8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45" name="Verbinder: gekrümmt 44">
                <a:extLst>
                  <a:ext uri="{FF2B5EF4-FFF2-40B4-BE49-F238E27FC236}">
                    <a16:creationId xmlns:a16="http://schemas.microsoft.com/office/drawing/2014/main" id="{2C5B63DC-249F-43DA-9E18-C34B4FAA5D50}"/>
                  </a:ext>
                </a:extLst>
              </p:cNvPr>
              <p:cNvCxnSpPr>
                <a:cxnSpLocks/>
                <a:stCxn id="192" idx="0"/>
                <a:endCxn id="164" idx="4"/>
              </p:cNvCxnSpPr>
              <p:nvPr/>
            </p:nvCxnSpPr>
            <p:spPr>
              <a:xfrm rot="5400000" flipH="1" flipV="1">
                <a:off x="-264512" y="5535026"/>
                <a:ext cx="310013" cy="605426"/>
              </a:xfrm>
              <a:prstGeom prst="curvedConnector3">
                <a:avLst>
                  <a:gd name="adj1" fmla="val 50000"/>
                </a:avLst>
              </a:prstGeom>
              <a:ln w="9525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261C1492-26DC-49E0-A403-2DE39A998CF1}"/>
                  </a:ext>
                </a:extLst>
              </p:cNvPr>
              <p:cNvSpPr txBox="1"/>
              <p:nvPr/>
            </p:nvSpPr>
            <p:spPr bwMode="gray">
              <a:xfrm>
                <a:off x="-908194" y="5992745"/>
                <a:ext cx="991950" cy="2908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de-DE" sz="1000" dirty="0" err="1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jection</a:t>
                </a:r>
                <a:r>
                  <a:rPr lang="de-DE" sz="100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(</a:t>
                </a:r>
                <a:r>
                  <a:rPr lang="de-DE" sz="890" dirty="0">
                    <a:solidFill>
                      <a:srgbClr val="2DBECD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se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</a:p>
            </p:txBody>
          </p: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D99389-1696-088E-D20C-8B4068C1C65D}"/>
              </a:ext>
            </a:extLst>
          </p:cNvPr>
          <p:cNvGrpSpPr/>
          <p:nvPr/>
        </p:nvGrpSpPr>
        <p:grpSpPr>
          <a:xfrm>
            <a:off x="3007024" y="687323"/>
            <a:ext cx="2945959" cy="5804068"/>
            <a:chOff x="2307551" y="-258046"/>
            <a:chExt cx="2945959" cy="6321837"/>
          </a:xfrm>
        </p:grpSpPr>
        <p:sp>
          <p:nvSpPr>
            <p:cNvPr id="196" name="Bogen 195">
              <a:extLst>
                <a:ext uri="{FF2B5EF4-FFF2-40B4-BE49-F238E27FC236}">
                  <a16:creationId xmlns:a16="http://schemas.microsoft.com/office/drawing/2014/main" id="{01DE2E84-46D1-4253-A25B-D51FA598B866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55AA026-0EF5-0C3C-8EDB-07DF472F08EF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47" name="Bogen 46">
                <a:extLst>
                  <a:ext uri="{FF2B5EF4-FFF2-40B4-BE49-F238E27FC236}">
                    <a16:creationId xmlns:a16="http://schemas.microsoft.com/office/drawing/2014/main" id="{5009A68D-7EB7-4CE4-9CAE-195219E61D83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8" name="Bogen 197">
                <a:extLst>
                  <a:ext uri="{FF2B5EF4-FFF2-40B4-BE49-F238E27FC236}">
                    <a16:creationId xmlns:a16="http://schemas.microsoft.com/office/drawing/2014/main" id="{965ABE6B-6740-4BCD-8829-3A4FA68C71E5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13830569-0F61-4A9C-B2C1-18C61C558764}"/>
              </a:ext>
            </a:extLst>
          </p:cNvPr>
          <p:cNvCxnSpPr>
            <a:cxnSpLocks/>
          </p:cNvCxnSpPr>
          <p:nvPr/>
        </p:nvCxnSpPr>
        <p:spPr>
          <a:xfrm flipH="1" flipV="1">
            <a:off x="1993954" y="5103819"/>
            <a:ext cx="1703249" cy="353102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2417F3B2-132A-46D8-B9A0-3AEE95FB3091}"/>
              </a:ext>
            </a:extLst>
          </p:cNvPr>
          <p:cNvCxnSpPr>
            <a:cxnSpLocks/>
          </p:cNvCxnSpPr>
          <p:nvPr/>
        </p:nvCxnSpPr>
        <p:spPr>
          <a:xfrm flipV="1">
            <a:off x="1973271" y="2743798"/>
            <a:ext cx="1517577" cy="48963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457C99-A208-4620-B493-432D9595315B}"/>
              </a:ext>
            </a:extLst>
          </p:cNvPr>
          <p:cNvGrpSpPr/>
          <p:nvPr/>
        </p:nvGrpSpPr>
        <p:grpSpPr>
          <a:xfrm flipH="1">
            <a:off x="9201952" y="633680"/>
            <a:ext cx="2945959" cy="5963064"/>
            <a:chOff x="-1906795" y="391820"/>
            <a:chExt cx="2945959" cy="6321837"/>
          </a:xfrm>
        </p:grpSpPr>
        <p:sp>
          <p:nvSpPr>
            <p:cNvPr id="209" name="Bogen 208">
              <a:extLst>
                <a:ext uri="{FF2B5EF4-FFF2-40B4-BE49-F238E27FC236}">
                  <a16:creationId xmlns:a16="http://schemas.microsoft.com/office/drawing/2014/main" id="{620FC215-F93B-4206-8695-1E066CF9C788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2" name="Bogen 211">
              <a:extLst>
                <a:ext uri="{FF2B5EF4-FFF2-40B4-BE49-F238E27FC236}">
                  <a16:creationId xmlns:a16="http://schemas.microsoft.com/office/drawing/2014/main" id="{E1DA8E1D-0835-4DD0-89AB-E3995E24DB8E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Bogen 212">
              <a:extLst>
                <a:ext uri="{FF2B5EF4-FFF2-40B4-BE49-F238E27FC236}">
                  <a16:creationId xmlns:a16="http://schemas.microsoft.com/office/drawing/2014/main" id="{A9EFC4DA-63A6-4524-B8AF-368E83CE5121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27876E44-6E1F-4C50-973C-34B9E8E33DD6}"/>
              </a:ext>
            </a:extLst>
          </p:cNvPr>
          <p:cNvCxnSpPr>
            <a:cxnSpLocks/>
          </p:cNvCxnSpPr>
          <p:nvPr/>
        </p:nvCxnSpPr>
        <p:spPr>
          <a:xfrm flipH="1" flipV="1">
            <a:off x="206826" y="1526375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/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blipFill>
                <a:blip r:embed="rId8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6CC52E43-04C7-436C-A537-A043B850BB23}"/>
              </a:ext>
            </a:extLst>
          </p:cNvPr>
          <p:cNvCxnSpPr>
            <a:cxnSpLocks/>
            <a:stCxn id="437" idx="2"/>
          </p:cNvCxnSpPr>
          <p:nvPr/>
        </p:nvCxnSpPr>
        <p:spPr>
          <a:xfrm flipH="1">
            <a:off x="1752350" y="1826653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/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blipFill>
                <a:blip r:embed="rId8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3" name="Bogen 92">
            <a:extLst>
              <a:ext uri="{FF2B5EF4-FFF2-40B4-BE49-F238E27FC236}">
                <a16:creationId xmlns:a16="http://schemas.microsoft.com/office/drawing/2014/main" id="{49385E82-09FC-4B89-959A-4374A2E4E1C9}"/>
              </a:ext>
            </a:extLst>
          </p:cNvPr>
          <p:cNvSpPr/>
          <p:nvPr/>
        </p:nvSpPr>
        <p:spPr>
          <a:xfrm rot="9341111">
            <a:off x="1401533" y="1063410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5002ECF4-DC9C-4A0D-97D2-AFD75CE5B21F}"/>
              </a:ext>
            </a:extLst>
          </p:cNvPr>
          <p:cNvCxnSpPr>
            <a:cxnSpLocks/>
          </p:cNvCxnSpPr>
          <p:nvPr/>
        </p:nvCxnSpPr>
        <p:spPr>
          <a:xfrm flipH="1" flipV="1">
            <a:off x="1631050" y="2906866"/>
            <a:ext cx="52445" cy="1927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/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blipFill>
                <a:blip r:embed="rId8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/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blipFill>
                <a:blip r:embed="rId8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/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blipFill>
                <a:blip r:embed="rId8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/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blipFill>
                <a:blip r:embed="rId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/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blipFill>
                <a:blip r:embed="rId8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/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/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/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/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/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blipFill>
                <a:blip r:embed="rId1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/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65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65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/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blipFill>
                <a:blip r:embed="rId123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319C86A-645B-EDF7-C66D-723FC277B58A}"/>
              </a:ext>
            </a:extLst>
          </p:cNvPr>
          <p:cNvGrpSpPr/>
          <p:nvPr/>
        </p:nvGrpSpPr>
        <p:grpSpPr>
          <a:xfrm>
            <a:off x="2486813" y="1629143"/>
            <a:ext cx="9252189" cy="4630981"/>
            <a:chOff x="2812985" y="383798"/>
            <a:chExt cx="8040616" cy="3641807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8D39C10D-0C03-470C-8550-0B22D8628818}"/>
                </a:ext>
              </a:extLst>
            </p:cNvPr>
            <p:cNvSpPr/>
            <p:nvPr/>
          </p:nvSpPr>
          <p:spPr>
            <a:xfrm>
              <a:off x="5024936" y="619291"/>
              <a:ext cx="4917368" cy="3184415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463">
                <a:solidFill>
                  <a:srgbClr val="FFC000"/>
                </a:solidFill>
              </a:endParaRPr>
            </a:p>
          </p:txBody>
        </p:sp>
        <p:sp>
          <p:nvSpPr>
            <p:cNvPr id="3" name="Runde Klammer links/rechts 2">
              <a:extLst>
                <a:ext uri="{FF2B5EF4-FFF2-40B4-BE49-F238E27FC236}">
                  <a16:creationId xmlns:a16="http://schemas.microsoft.com/office/drawing/2014/main" id="{D14D5AE6-C1C4-4BBA-8F0E-25AD064FE1AA}"/>
                </a:ext>
              </a:extLst>
            </p:cNvPr>
            <p:cNvSpPr/>
            <p:nvPr/>
          </p:nvSpPr>
          <p:spPr>
            <a:xfrm>
              <a:off x="4942446" y="704112"/>
              <a:ext cx="5135691" cy="3085909"/>
            </a:xfrm>
            <a:prstGeom prst="bracketPair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63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/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p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blipFill>
                  <a:blip r:embed="rId1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/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𝑆𝐹</m:t>
                        </m:r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𝐶</m:t>
                            </m:r>
                          </m:e>
                          <m:sup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𝑇𝑢𝑚𝑜𝑟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blipFill>
                  <a:blip r:embed="rId12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2DD112FE-D28D-4D90-B677-A92DC30B0A34}"/>
                </a:ext>
              </a:extLst>
            </p:cNvPr>
            <p:cNvCxnSpPr>
              <a:cxnSpLocks/>
            </p:cNvCxnSpPr>
            <p:nvPr/>
          </p:nvCxnSpPr>
          <p:spPr>
            <a:xfrm>
              <a:off x="10091905" y="2278879"/>
              <a:ext cx="564712" cy="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80016280-8EAA-4E81-BE3D-A41FA23551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68307" y="1443422"/>
              <a:ext cx="131021" cy="182133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/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894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τ</m:t>
                        </m:r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blipFill>
                  <a:blip r:embed="rId1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/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𝑇𝑉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𝐼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+1)</m:t>
                        </m:r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blipFill>
                  <a:blip r:embed="rId1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/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/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blipFill>
                  <a:blip r:embed="rId12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/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blipFill>
                  <a:blip r:embed="rId13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/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blipFill>
                  <a:blip r:embed="rId1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8" name="Textfeld 237">
              <a:extLst>
                <a:ext uri="{FF2B5EF4-FFF2-40B4-BE49-F238E27FC236}">
                  <a16:creationId xmlns:a16="http://schemas.microsoft.com/office/drawing/2014/main" id="{8728EDEB-92F7-45E0-948A-D72E179975A8}"/>
                </a:ext>
              </a:extLst>
            </p:cNvPr>
            <p:cNvSpPr txBox="1"/>
            <p:nvPr/>
          </p:nvSpPr>
          <p:spPr bwMode="gray">
            <a:xfrm>
              <a:off x="6746756" y="383798"/>
              <a:ext cx="991950" cy="121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mor </a:t>
              </a:r>
              <a:r>
                <a:rPr lang="de-DE" sz="1000" dirty="0" err="1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ll</a:t>
              </a:r>
              <a:endPara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/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𝒂𝒈</m:t>
                            </m:r>
                          </m:sub>
                          <m:sup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</m:t>
                            </m:r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𝒍𝒍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blipFill>
                  <a:blip r:embed="rId13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/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650" i="1" dirty="0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𝐴𝑔</m:t>
                            </m:r>
                          </m:e>
                          <m:sup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𝐸𝑥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blipFill>
                  <a:blip r:embed="rId13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0D72AE9-55DB-453F-BC2C-E32F0A774EE3}"/>
                </a:ext>
              </a:extLst>
            </p:cNvPr>
            <p:cNvSpPr/>
            <p:nvPr/>
          </p:nvSpPr>
          <p:spPr>
            <a:xfrm>
              <a:off x="6202972" y="2098163"/>
              <a:ext cx="2404798" cy="1496113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/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blipFill>
                  <a:blip r:embed="rId13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/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blipFill>
                  <a:blip r:embed="rId13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/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chemeClr val="tx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blipFill>
                  <a:blip r:embed="rId13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5" name="Gerade Verbindung mit Pfeil 264">
              <a:extLst>
                <a:ext uri="{FF2B5EF4-FFF2-40B4-BE49-F238E27FC236}">
                  <a16:creationId xmlns:a16="http://schemas.microsoft.com/office/drawing/2014/main" id="{EE54EC1B-CDEB-402F-8EDC-62E62B77A037}"/>
                </a:ext>
              </a:extLst>
            </p:cNvPr>
            <p:cNvCxnSpPr>
              <a:cxnSpLocks/>
              <a:stCxn id="257" idx="0"/>
            </p:cNvCxnSpPr>
            <p:nvPr/>
          </p:nvCxnSpPr>
          <p:spPr>
            <a:xfrm flipV="1">
              <a:off x="6800976" y="2444332"/>
              <a:ext cx="611605" cy="3152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27E0E653-CCB9-4CAB-B99B-7C261A8BCA6D}"/>
                </a:ext>
              </a:extLst>
            </p:cNvPr>
            <p:cNvCxnSpPr>
              <a:cxnSpLocks/>
              <a:stCxn id="244" idx="2"/>
              <a:endCxn id="259" idx="0"/>
            </p:cNvCxnSpPr>
            <p:nvPr/>
          </p:nvCxnSpPr>
          <p:spPr>
            <a:xfrm flipH="1">
              <a:off x="7684890" y="1486395"/>
              <a:ext cx="42199" cy="74507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 Verbindung mit Pfeil 267">
              <a:extLst>
                <a:ext uri="{FF2B5EF4-FFF2-40B4-BE49-F238E27FC236}">
                  <a16:creationId xmlns:a16="http://schemas.microsoft.com/office/drawing/2014/main" id="{7BAB0460-9A16-4FA1-9ED3-573BDB2600BD}"/>
                </a:ext>
              </a:extLst>
            </p:cNvPr>
            <p:cNvCxnSpPr>
              <a:cxnSpLocks/>
              <a:endCxn id="244" idx="1"/>
            </p:cNvCxnSpPr>
            <p:nvPr/>
          </p:nvCxnSpPr>
          <p:spPr>
            <a:xfrm>
              <a:off x="4186003" y="1281130"/>
              <a:ext cx="3077402" cy="51954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1" name="Gerade Verbindung mit Pfeil 270">
              <a:extLst>
                <a:ext uri="{FF2B5EF4-FFF2-40B4-BE49-F238E27FC236}">
                  <a16:creationId xmlns:a16="http://schemas.microsoft.com/office/drawing/2014/main" id="{DEC50B85-21EF-448D-A439-141906C5F0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99393" y="1375618"/>
              <a:ext cx="325882" cy="46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/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/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blipFill>
                  <a:blip r:embed="rId13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49" name="Gerade Verbindung mit Pfeil 348">
              <a:extLst>
                <a:ext uri="{FF2B5EF4-FFF2-40B4-BE49-F238E27FC236}">
                  <a16:creationId xmlns:a16="http://schemas.microsoft.com/office/drawing/2014/main" id="{5E06E5BC-0080-44EB-814C-54619C85C4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05780" y="2087736"/>
              <a:ext cx="268566" cy="121142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/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blipFill>
                  <a:blip r:embed="rId13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/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blipFill>
                  <a:blip r:embed="rId13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/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blipFill>
                  <a:blip r:embed="rId14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/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𝑝𝑖𝑛𝑜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blipFill>
                  <a:blip r:embed="rId14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/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blipFill>
                  <a:blip r:embed="rId14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/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blipFill>
                  <a:blip r:embed="rId14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/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𝑑𝑒𝑔</m:t>
                            </m:r>
                          </m:sub>
                          <m:sup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/>
                </a:p>
              </p:txBody>
            </p:sp>
          </mc:Choice>
          <mc:Fallback xmlns="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blipFill>
                  <a:blip r:embed="rId14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/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blipFill>
                  <a:blip r:embed="rId14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/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blipFill>
                  <a:blip r:embed="rId14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/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blipFill>
                  <a:blip r:embed="rId14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/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𝒉𝒂𝒓𝒈𝒆𝒅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rgbClr val="FF0000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blipFill>
                  <a:blip r:embed="rId14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7" name="Gerade Verbindung mit Pfeil 146">
              <a:extLst>
                <a:ext uri="{FF2B5EF4-FFF2-40B4-BE49-F238E27FC236}">
                  <a16:creationId xmlns:a16="http://schemas.microsoft.com/office/drawing/2014/main" id="{8E9662DD-7884-414F-820E-DBBEE8ED4CF1}"/>
                </a:ext>
              </a:extLst>
            </p:cNvPr>
            <p:cNvCxnSpPr>
              <a:cxnSpLocks/>
              <a:stCxn id="204" idx="0"/>
            </p:cNvCxnSpPr>
            <p:nvPr/>
          </p:nvCxnSpPr>
          <p:spPr>
            <a:xfrm flipV="1">
              <a:off x="3949888" y="810900"/>
              <a:ext cx="312919" cy="346116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/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94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𝑝𝐻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  <m:sup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sup>
                        </m:sSubSup>
                      </m:oMath>
                    </m:oMathPara>
                  </a14:m>
                  <a:endParaRPr lang="de-DE" sz="894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blipFill>
                  <a:blip r:embed="rId14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/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blipFill>
                  <a:blip r:embed="rId15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/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blipFill>
                  <a:blip r:embed="rId15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/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</m:sub>
                          <m:sup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𝑎𝑙𝑙</m:t>
                            </m:r>
                          </m:sup>
                        </m:sSubSup>
                      </m:oMath>
                    </m:oMathPara>
                  </a14:m>
                  <a:endParaRPr lang="de-DE" sz="810" dirty="0">
                    <a:solidFill>
                      <a:srgbClr val="0070C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blipFill>
                  <a:blip r:embed="rId15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D84BF4AC-8118-4131-9FEC-F0B76F86C67C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86" y="2002087"/>
              <a:ext cx="1632929" cy="79629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3DCE3758-7472-496A-95FF-E5532E249F0E}"/>
                </a:ext>
              </a:extLst>
            </p:cNvPr>
            <p:cNvCxnSpPr>
              <a:cxnSpLocks/>
              <a:endCxn id="257" idx="1"/>
            </p:cNvCxnSpPr>
            <p:nvPr/>
          </p:nvCxnSpPr>
          <p:spPr>
            <a:xfrm flipV="1">
              <a:off x="4308008" y="2912873"/>
              <a:ext cx="2059886" cy="4743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/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p>
                      </m:oMath>
                    </m:oMathPara>
                  </a14:m>
                  <a:endParaRPr lang="de-DE" sz="894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blipFill>
                  <a:blip r:embed="rId15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/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blipFill>
                  <a:blip r:embed="rId15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A7295E13-60FC-727D-AA8D-6E64C2AFA553}"/>
                </a:ext>
              </a:extLst>
            </p:cNvPr>
            <p:cNvCxnSpPr>
              <a:cxnSpLocks/>
            </p:cNvCxnSpPr>
            <p:nvPr/>
          </p:nvCxnSpPr>
          <p:spPr>
            <a:xfrm>
              <a:off x="7974008" y="1325198"/>
              <a:ext cx="943056" cy="282149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/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blipFill>
                  <a:blip r:embed="rId15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/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blipFill>
                  <a:blip r:embed="rId15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4B3F52C5-9546-8DD4-814C-9FBF9D47883F}"/>
              </a:ext>
            </a:extLst>
          </p:cNvPr>
          <p:cNvSpPr txBox="1">
            <a:spLocks/>
          </p:cNvSpPr>
          <p:nvPr/>
        </p:nvSpPr>
        <p:spPr>
          <a:xfrm>
            <a:off x="596200" y="101939"/>
            <a:ext cx="10944225" cy="325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/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blipFill>
                <a:blip r:embed="rId157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/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4064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90018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j Metabolites1 in peripheral compartment, j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91824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97429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0851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707106" y="946952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9111" y="979515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902299" y="1910065"/>
            <a:ext cx="201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32451" y="1910065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765105" y="534856"/>
            <a:ext cx="287662" cy="4672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252675" y="3020697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203825" y="18430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444498" y="30206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79716" y="145741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83888" y="42122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04973" y="3059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70805" y="42112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2178140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220717" y="67416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624889" y="34290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45974" y="22764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011806" y="342802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3044889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B91B3A5-C115-4361-9A29-3515105FF9A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533001" y="2327403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28383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57565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drug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838205" y="1127248"/>
            <a:ext cx="477672" cy="19630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5834269" y="1153813"/>
            <a:ext cx="477672" cy="1963038"/>
          </a:xfrm>
          <a:prstGeom prst="rightBrace">
            <a:avLst>
              <a:gd name="adj1" fmla="val 13602"/>
              <a:gd name="adj2" fmla="val 496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52B3E9-9085-438D-AA5C-1D26C293FEEC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/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/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/>
              <p:nvPr/>
            </p:nvSpPr>
            <p:spPr>
              <a:xfrm>
                <a:off x="1135232" y="1253670"/>
                <a:ext cx="10112871" cy="26984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dirty="0">
                  <a:ea typeface="Cambria Math" panose="02040503050406030204" pitchFamily="18" charset="0"/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8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8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5232" y="1253670"/>
                <a:ext cx="10112871" cy="26984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0F32B80F-F0F6-6648-9D7C-519B979E560E}"/>
              </a:ext>
            </a:extLst>
          </p:cNvPr>
          <p:cNvSpPr/>
          <p:nvPr/>
        </p:nvSpPr>
        <p:spPr>
          <a:xfrm rot="5400000">
            <a:off x="4591567" y="116326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EBC3F5-6278-142B-135F-643C2BE9A8C9}"/>
              </a:ext>
            </a:extLst>
          </p:cNvPr>
          <p:cNvSpPr txBox="1"/>
          <p:nvPr/>
        </p:nvSpPr>
        <p:spPr>
          <a:xfrm>
            <a:off x="3802691" y="398441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EE509C8A-76A3-C5D0-5B40-16219CE037D9}"/>
              </a:ext>
            </a:extLst>
          </p:cNvPr>
          <p:cNvSpPr/>
          <p:nvPr/>
        </p:nvSpPr>
        <p:spPr>
          <a:xfrm rot="5400000">
            <a:off x="8904113" y="229442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2A67AB02-CB22-5B8B-634C-F40F73C3A4CE}"/>
              </a:ext>
            </a:extLst>
          </p:cNvPr>
          <p:cNvSpPr txBox="1"/>
          <p:nvPr/>
        </p:nvSpPr>
        <p:spPr>
          <a:xfrm>
            <a:off x="7976583" y="395774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3154764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244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ntibody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038185" y="1919890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69370" y="395100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708219" y="2265802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103729" y="387280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460866" y="3346769"/>
            <a:ext cx="287662" cy="37494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2124853" y="5361541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258160" y="4391369"/>
            <a:ext cx="283128" cy="16544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572513" y="5299100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933459" y="3395017"/>
            <a:ext cx="287662" cy="3556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7148924" y="53055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10879890" y="415901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9945722" y="531063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955033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627812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6278129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92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tumor extracellular space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224218" y="-2513025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863606" y="2918968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15825" y="1347240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889806" y="3977973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03391" y="2310685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198901" y="3917686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737682" y="3005809"/>
            <a:ext cx="287662" cy="42777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2027244" y="5268324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831659" y="4251866"/>
            <a:ext cx="283128" cy="17978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5020411" y="5265589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9033285" y="2931300"/>
            <a:ext cx="287662" cy="44321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8556650" y="5271002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1424896" y="5465304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724503" y="638649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4398457" y="4173703"/>
            <a:ext cx="287662" cy="42292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3950277" y="64206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7681243" y="527405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6747075" y="642568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5216227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44617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4461799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672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162164" y="-2572523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18604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76318" y="1320385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950299" y="395111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63884" y="2283830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259394" y="3890831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167228" y="3603701"/>
            <a:ext cx="287662" cy="3136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5614" y="5303843"/>
            <a:ext cx="178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813670" y="414784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879502" y="529947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108722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𝑗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j Metabolites1 in tumor extracellular space, j = 1,2,3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963704" y="2642988"/>
            <a:ext cx="287662" cy="48607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390114" y="5182689"/>
            <a:ext cx="1879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585538" y="406308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651370" y="521470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0406775" y="2319167"/>
            <a:ext cx="287662" cy="548078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9639641" y="518647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430189" y="526111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96021" y="641273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895898" y="3923199"/>
            <a:ext cx="287662" cy="47347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990175" y="6423567"/>
            <a:ext cx="236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8431426" y="527629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497258" y="642791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18252134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38670" cy="58219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38670" cy="58219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4415562" y="-63748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878726" y="197723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33431" y="4531381"/>
            <a:ext cx="287662" cy="357648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045289" y="64519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199673" y="528992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265505" y="644155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75C41A-EB5D-A068-8DB4-5B15009044FE}"/>
              </a:ext>
            </a:extLst>
          </p:cNvPr>
          <p:cNvSpPr/>
          <p:nvPr/>
        </p:nvSpPr>
        <p:spPr>
          <a:xfrm rot="5400000">
            <a:off x="6277615" y="-1907280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B0D36CDA-0775-C181-02F2-DDE8EB70BEF0}"/>
              </a:ext>
            </a:extLst>
          </p:cNvPr>
          <p:cNvSpPr txBox="1"/>
          <p:nvPr/>
        </p:nvSpPr>
        <p:spPr>
          <a:xfrm>
            <a:off x="3798318" y="358384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96D6804E-D529-E6E3-AC3A-A28F57FC833E}"/>
              </a:ext>
            </a:extLst>
          </p:cNvPr>
          <p:cNvSpPr/>
          <p:nvPr/>
        </p:nvSpPr>
        <p:spPr>
          <a:xfrm rot="5400000">
            <a:off x="5231458" y="1756265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AA9C1554-0BD6-6A1F-3DC7-E04CDB27DB43}"/>
              </a:ext>
            </a:extLst>
          </p:cNvPr>
          <p:cNvSpPr txBox="1"/>
          <p:nvPr/>
        </p:nvSpPr>
        <p:spPr>
          <a:xfrm>
            <a:off x="3934882" y="471644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2D0CB8EA-54FB-EBA0-5D80-FB0BCC2F9827}"/>
              </a:ext>
            </a:extLst>
          </p:cNvPr>
          <p:cNvSpPr/>
          <p:nvPr/>
        </p:nvSpPr>
        <p:spPr>
          <a:xfrm rot="5400000">
            <a:off x="10024100" y="2810055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BC5640BD-4927-96B8-FD6F-1FD6B9195730}"/>
              </a:ext>
            </a:extLst>
          </p:cNvPr>
          <p:cNvSpPr txBox="1"/>
          <p:nvPr/>
        </p:nvSpPr>
        <p:spPr>
          <a:xfrm>
            <a:off x="9243977" y="465615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563628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20">
            <a:extLst>
              <a:ext uri="{FF2B5EF4-FFF2-40B4-BE49-F238E27FC236}">
                <a16:creationId xmlns:a16="http://schemas.microsoft.com/office/drawing/2014/main" id="{266D7577-B29D-4492-78BF-4A25BB17AC6D}"/>
              </a:ext>
            </a:extLst>
          </p:cNvPr>
          <p:cNvSpPr/>
          <p:nvPr/>
        </p:nvSpPr>
        <p:spPr bwMode="gray">
          <a:xfrm>
            <a:off x="1363663" y="3241967"/>
            <a:ext cx="1606351" cy="1334267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</a:pPr>
            <a:endParaRPr lang="de-DE" sz="1600" kern="0" dirty="0" err="1">
              <a:solidFill>
                <a:schemeClr val="accent6"/>
              </a:solidFill>
              <a:latin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aboli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3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7"/>
            <a:chOff x="-844126" y="2629634"/>
            <a:chExt cx="2760774" cy="5489237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6312824"/>
              <a:ext cx="2025342" cy="1806047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7" name="Textfeld 346">
            <a:extLst>
              <a:ext uri="{FF2B5EF4-FFF2-40B4-BE49-F238E27FC236}">
                <a16:creationId xmlns:a16="http://schemas.microsoft.com/office/drawing/2014/main" id="{8A6845D3-B5AC-E1DE-7D36-F19F525EF437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1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/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chemeClr val="accent5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C631767-779C-3862-1268-FD880D4EB735}"/>
              </a:ext>
            </a:extLst>
          </p:cNvPr>
          <p:cNvCxnSpPr>
            <a:cxnSpLocks/>
            <a:endCxn id="148" idx="0"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/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118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B2F8BCB5-C782-66D6-533C-DE5E9C598B13}"/>
              </a:ext>
            </a:extLst>
          </p:cNvPr>
          <p:cNvCxnSpPr>
            <a:cxnSpLocks/>
            <a:endCxn id="349" idx="4"/>
          </p:cNvCxnSpPr>
          <p:nvPr/>
        </p:nvCxnSpPr>
        <p:spPr>
          <a:xfrm rot="10800000">
            <a:off x="2015610" y="6610572"/>
            <a:ext cx="611585" cy="1726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/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/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2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blipFill>
                <a:blip r:embed="rId1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B82DD216-1696-AEE9-4B24-E2C7BBC9840C}"/>
              </a:ext>
            </a:extLst>
          </p:cNvPr>
          <p:cNvCxnSpPr>
            <a:cxnSpLocks/>
          </p:cNvCxnSpPr>
          <p:nvPr/>
        </p:nvCxnSpPr>
        <p:spPr>
          <a:xfrm>
            <a:off x="232431" y="3049942"/>
            <a:ext cx="106341" cy="2699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5DD332D9-CC66-9DF2-A929-E2C94A8B4EE0}"/>
              </a:ext>
            </a:extLst>
          </p:cNvPr>
          <p:cNvCxnSpPr/>
          <p:nvPr/>
        </p:nvCxnSpPr>
        <p:spPr>
          <a:xfrm flipV="1">
            <a:off x="529042" y="2982945"/>
            <a:ext cx="26690" cy="2163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B8B6B0EB-550F-8922-F349-209AB0B42A15}"/>
              </a:ext>
            </a:extLst>
          </p:cNvPr>
          <p:cNvCxnSpPr>
            <a:cxnSpLocks/>
          </p:cNvCxnSpPr>
          <p:nvPr/>
        </p:nvCxnSpPr>
        <p:spPr>
          <a:xfrm flipH="1">
            <a:off x="1354371" y="2925183"/>
            <a:ext cx="209350" cy="2585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CC76C7EC-49C2-E3D3-C2B1-18BC5486FC21}"/>
              </a:ext>
            </a:extLst>
          </p:cNvPr>
          <p:cNvCxnSpPr/>
          <p:nvPr/>
        </p:nvCxnSpPr>
        <p:spPr>
          <a:xfrm flipH="1" flipV="1">
            <a:off x="1665495" y="2873673"/>
            <a:ext cx="222848" cy="2203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3820631" y="2829033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4061505" y="2821264"/>
            <a:ext cx="1223675" cy="2082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</p:cNvCxnSpPr>
          <p:nvPr/>
        </p:nvCxnSpPr>
        <p:spPr>
          <a:xfrm>
            <a:off x="4033528" y="2869169"/>
            <a:ext cx="766328" cy="2862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4084706" y="2749769"/>
            <a:ext cx="2230429" cy="304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blipFill>
                <a:blip r:embed="rId125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541EC5E-3BD7-3261-E2C0-EC3CFB1224F6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1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/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/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9A287C9-8119-65FD-9914-D05DA068DC13}"/>
              </a:ext>
            </a:extLst>
          </p:cNvPr>
          <p:cNvCxnSpPr>
            <a:cxnSpLocks/>
          </p:cNvCxnSpPr>
          <p:nvPr/>
        </p:nvCxnSpPr>
        <p:spPr>
          <a:xfrm>
            <a:off x="1906191" y="2854285"/>
            <a:ext cx="201300" cy="6343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/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feld 17">
            <a:extLst>
              <a:ext uri="{FF2B5EF4-FFF2-40B4-BE49-F238E27FC236}">
                <a16:creationId xmlns:a16="http://schemas.microsoft.com/office/drawing/2014/main" id="{C6C8F215-ADD3-799F-6B72-C79A4387B4F4}"/>
              </a:ext>
            </a:extLst>
          </p:cNvPr>
          <p:cNvSpPr txBox="1"/>
          <p:nvPr/>
        </p:nvSpPr>
        <p:spPr>
          <a:xfrm>
            <a:off x="2034129" y="3563570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/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blipFill>
                <a:blip r:embed="rId1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908090B-EA2E-A03B-A737-70CE28863706}"/>
              </a:ext>
            </a:extLst>
          </p:cNvPr>
          <p:cNvCxnSpPr>
            <a:cxnSpLocks/>
          </p:cNvCxnSpPr>
          <p:nvPr/>
        </p:nvCxnSpPr>
        <p:spPr>
          <a:xfrm flipH="1">
            <a:off x="849046" y="3672710"/>
            <a:ext cx="726442" cy="2481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/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E08F18B-6D1E-156C-3164-11B599FAD22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486079" y="3057562"/>
            <a:ext cx="409475" cy="5123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/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347482B-8F81-B2BA-D41A-39CD499F380F}"/>
              </a:ext>
            </a:extLst>
          </p:cNvPr>
          <p:cNvCxnSpPr>
            <a:cxnSpLocks/>
          </p:cNvCxnSpPr>
          <p:nvPr/>
        </p:nvCxnSpPr>
        <p:spPr>
          <a:xfrm>
            <a:off x="2422387" y="524977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/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blipFill>
                <a:blip r:embed="rId132"/>
                <a:stretch>
                  <a:fillRect r="-169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/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blipFill>
                <a:blip r:embed="rId1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/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blipFill>
                <a:blip r:embed="rId1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/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blipFill>
                <a:blip r:embed="rId1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/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blipFill>
                <a:blip r:embed="rId1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/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blipFill>
                <a:blip r:embed="rId1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/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blipFill>
                <a:blip r:embed="rId1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29AF006D-07D1-6C09-5DDB-969C19882238}"/>
              </a:ext>
            </a:extLst>
          </p:cNvPr>
          <p:cNvCxnSpPr>
            <a:cxnSpLocks/>
          </p:cNvCxnSpPr>
          <p:nvPr/>
        </p:nvCxnSpPr>
        <p:spPr>
          <a:xfrm flipH="1" flipV="1">
            <a:off x="1995632" y="3829573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D831E741-497B-D143-344A-362F7A15A9F9}"/>
              </a:ext>
            </a:extLst>
          </p:cNvPr>
          <p:cNvCxnSpPr>
            <a:cxnSpLocks/>
          </p:cNvCxnSpPr>
          <p:nvPr/>
        </p:nvCxnSpPr>
        <p:spPr>
          <a:xfrm flipH="1" flipV="1">
            <a:off x="2085216" y="3800169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/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blipFill>
                <a:blip r:embed="rId139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Textfeld 82">
            <a:extLst>
              <a:ext uri="{FF2B5EF4-FFF2-40B4-BE49-F238E27FC236}">
                <a16:creationId xmlns:a16="http://schemas.microsoft.com/office/drawing/2014/main" id="{578EDA45-EB4E-3864-4277-E2CD1705819A}"/>
              </a:ext>
            </a:extLst>
          </p:cNvPr>
          <p:cNvSpPr txBox="1"/>
          <p:nvPr/>
        </p:nvSpPr>
        <p:spPr>
          <a:xfrm>
            <a:off x="2228564" y="4166149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/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blipFill>
                <a:blip r:embed="rId140"/>
                <a:stretch>
                  <a:fillRect r="-328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F5A4ED7E-8526-05BB-2564-5D75F61DBBCB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2200915" y="5770983"/>
            <a:ext cx="353424" cy="10793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3BBD793D-DDB8-E933-ED6C-9F5D043EBFE8}"/>
              </a:ext>
            </a:extLst>
          </p:cNvPr>
          <p:cNvCxnSpPr>
            <a:cxnSpLocks/>
          </p:cNvCxnSpPr>
          <p:nvPr/>
        </p:nvCxnSpPr>
        <p:spPr>
          <a:xfrm>
            <a:off x="1713920" y="5908713"/>
            <a:ext cx="338184" cy="63625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492FFD7-20A5-615E-4889-D80D45CE9EC3}"/>
              </a:ext>
            </a:extLst>
          </p:cNvPr>
          <p:cNvCxnSpPr>
            <a:cxnSpLocks/>
          </p:cNvCxnSpPr>
          <p:nvPr/>
        </p:nvCxnSpPr>
        <p:spPr>
          <a:xfrm>
            <a:off x="1627577" y="6093024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105FD817-E13B-49FC-FECB-749A1560DADE}"/>
              </a:ext>
            </a:extLst>
          </p:cNvPr>
          <p:cNvCxnSpPr>
            <a:cxnSpLocks/>
          </p:cNvCxnSpPr>
          <p:nvPr/>
        </p:nvCxnSpPr>
        <p:spPr>
          <a:xfrm>
            <a:off x="1788048" y="6357514"/>
            <a:ext cx="165270" cy="511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71815277-DE0A-A3E6-86C6-24BC7D9A4EB2}"/>
              </a:ext>
            </a:extLst>
          </p:cNvPr>
          <p:cNvCxnSpPr>
            <a:cxnSpLocks/>
          </p:cNvCxnSpPr>
          <p:nvPr/>
        </p:nvCxnSpPr>
        <p:spPr>
          <a:xfrm flipV="1">
            <a:off x="2233391" y="6347172"/>
            <a:ext cx="186121" cy="91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7D15ECB7-4EC5-FA6A-7EFA-D8D7E5BD57E3}"/>
              </a:ext>
            </a:extLst>
          </p:cNvPr>
          <p:cNvCxnSpPr>
            <a:cxnSpLocks/>
          </p:cNvCxnSpPr>
          <p:nvPr/>
        </p:nvCxnSpPr>
        <p:spPr>
          <a:xfrm>
            <a:off x="1553255" y="5730261"/>
            <a:ext cx="512845" cy="1938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2CC75A8E-714A-8CD3-AF8C-E579353AA418}"/>
              </a:ext>
            </a:extLst>
          </p:cNvPr>
          <p:cNvCxnSpPr>
            <a:cxnSpLocks/>
          </p:cNvCxnSpPr>
          <p:nvPr/>
        </p:nvCxnSpPr>
        <p:spPr>
          <a:xfrm>
            <a:off x="2066100" y="5294944"/>
            <a:ext cx="361814" cy="35005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51D041F9-5311-D08D-7D79-68DFD46C0887}"/>
              </a:ext>
            </a:extLst>
          </p:cNvPr>
          <p:cNvCxnSpPr>
            <a:stCxn id="142" idx="2"/>
            <a:endCxn id="70" idx="2"/>
          </p:cNvCxnSpPr>
          <p:nvPr/>
        </p:nvCxnSpPr>
        <p:spPr>
          <a:xfrm rot="16200000" flipH="1">
            <a:off x="1673192" y="5532008"/>
            <a:ext cx="636252" cy="1199865"/>
          </a:xfrm>
          <a:prstGeom prst="bentConnector3">
            <a:avLst>
              <a:gd name="adj1" fmla="val 135929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/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blipFill>
                <a:blip r:embed="rId1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A5E8C5BA-2280-93BC-AF1E-62A72F54480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585052" y="5993504"/>
            <a:ext cx="638015" cy="9694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/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blipFill>
                <a:blip r:embed="rId1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/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blipFill>
                <a:blip r:embed="rId1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3CFDFAA1-BB6D-C7F4-9BCD-B8C8D4AE8976}"/>
              </a:ext>
            </a:extLst>
          </p:cNvPr>
          <p:cNvCxnSpPr>
            <a:cxnSpLocks/>
          </p:cNvCxnSpPr>
          <p:nvPr/>
        </p:nvCxnSpPr>
        <p:spPr>
          <a:xfrm flipH="1">
            <a:off x="593861" y="6391622"/>
            <a:ext cx="728014" cy="10512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/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blipFill>
                <a:blip r:embed="rId1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C060ADDD-9E93-7E81-C81C-FC62A52E833E}"/>
              </a:ext>
            </a:extLst>
          </p:cNvPr>
          <p:cNvCxnSpPr>
            <a:cxnSpLocks/>
          </p:cNvCxnSpPr>
          <p:nvPr/>
        </p:nvCxnSpPr>
        <p:spPr>
          <a:xfrm>
            <a:off x="397188" y="6245704"/>
            <a:ext cx="6846" cy="2206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/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blipFill>
                <a:blip r:embed="rId1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9AFF302D-45E4-E39B-349C-DC6FBC33275A}"/>
              </a:ext>
            </a:extLst>
          </p:cNvPr>
          <p:cNvCxnSpPr>
            <a:cxnSpLocks/>
          </p:cNvCxnSpPr>
          <p:nvPr/>
        </p:nvCxnSpPr>
        <p:spPr>
          <a:xfrm flipH="1" flipV="1">
            <a:off x="505077" y="4955564"/>
            <a:ext cx="1642078" cy="103759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/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blipFill>
                <a:blip r:embed="rId1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/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blipFill>
                <a:blip r:embed="rId1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/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blipFill>
                <a:blip r:embed="rId1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3" name="Textfeld 162">
            <a:extLst>
              <a:ext uri="{FF2B5EF4-FFF2-40B4-BE49-F238E27FC236}">
                <a16:creationId xmlns:a16="http://schemas.microsoft.com/office/drawing/2014/main" id="{9B2A7236-6AF0-CA67-2F4D-B1D95D5605D1}"/>
              </a:ext>
            </a:extLst>
          </p:cNvPr>
          <p:cNvSpPr txBox="1"/>
          <p:nvPr/>
        </p:nvSpPr>
        <p:spPr>
          <a:xfrm>
            <a:off x="4438033" y="1599664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/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blipFill>
                <a:blip r:embed="rId1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4BDAF2FB-0BE5-A95D-4BC6-7669550E843F}"/>
              </a:ext>
            </a:extLst>
          </p:cNvPr>
          <p:cNvCxnSpPr>
            <a:cxnSpLocks/>
          </p:cNvCxnSpPr>
          <p:nvPr/>
        </p:nvCxnSpPr>
        <p:spPr>
          <a:xfrm flipV="1">
            <a:off x="3836826" y="1890936"/>
            <a:ext cx="619090" cy="68373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/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/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7A1E2D-AAED-CD6C-5D37-DFB58A5DC220}"/>
              </a:ext>
            </a:extLst>
          </p:cNvPr>
          <p:cNvCxnSpPr>
            <a:cxnSpLocks/>
          </p:cNvCxnSpPr>
          <p:nvPr/>
        </p:nvCxnSpPr>
        <p:spPr>
          <a:xfrm flipH="1" flipV="1">
            <a:off x="2520647" y="6029522"/>
            <a:ext cx="1773453" cy="1492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/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339A6AC6-6614-0012-5D6C-EDB7AC3A1E99}"/>
              </a:ext>
            </a:extLst>
          </p:cNvPr>
          <p:cNvCxnSpPr>
            <a:cxnSpLocks/>
            <a:stCxn id="159" idx="2"/>
          </p:cNvCxnSpPr>
          <p:nvPr/>
        </p:nvCxnSpPr>
        <p:spPr>
          <a:xfrm flipH="1">
            <a:off x="2735643" y="1810599"/>
            <a:ext cx="2486069" cy="187256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A0A525A8-DD86-F2B2-6282-B4EFA4B3117C}"/>
              </a:ext>
            </a:extLst>
          </p:cNvPr>
          <p:cNvCxnSpPr>
            <a:cxnSpLocks/>
            <a:stCxn id="160" idx="2"/>
          </p:cNvCxnSpPr>
          <p:nvPr/>
        </p:nvCxnSpPr>
        <p:spPr>
          <a:xfrm flipH="1">
            <a:off x="2123333" y="1810992"/>
            <a:ext cx="1893603" cy="1738616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/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/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/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E493FAE2-E816-1F22-E3AE-311633318BE3}"/>
              </a:ext>
            </a:extLst>
          </p:cNvPr>
          <p:cNvCxnSpPr>
            <a:cxnSpLocks/>
          </p:cNvCxnSpPr>
          <p:nvPr/>
        </p:nvCxnSpPr>
        <p:spPr>
          <a:xfrm>
            <a:off x="4568444" y="626704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AD732A27-7B7D-0038-527E-D3841975B4E3}"/>
              </a:ext>
            </a:extLst>
          </p:cNvPr>
          <p:cNvCxnSpPr>
            <a:cxnSpLocks/>
          </p:cNvCxnSpPr>
          <p:nvPr/>
        </p:nvCxnSpPr>
        <p:spPr>
          <a:xfrm flipH="1" flipV="1">
            <a:off x="1829677" y="6126385"/>
            <a:ext cx="2596369" cy="4059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Gerade Verbindung mit Pfeil 197">
            <a:extLst>
              <a:ext uri="{FF2B5EF4-FFF2-40B4-BE49-F238E27FC236}">
                <a16:creationId xmlns:a16="http://schemas.microsoft.com/office/drawing/2014/main" id="{C1492FD1-9A9F-E476-1CB5-6972E75CD132}"/>
              </a:ext>
            </a:extLst>
          </p:cNvPr>
          <p:cNvCxnSpPr>
            <a:cxnSpLocks/>
          </p:cNvCxnSpPr>
          <p:nvPr/>
        </p:nvCxnSpPr>
        <p:spPr>
          <a:xfrm flipH="1" flipV="1">
            <a:off x="4149351" y="1862402"/>
            <a:ext cx="263218" cy="4219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3522F508-0A7C-F967-4364-EB8B3BFADEA1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4240828" y="1814385"/>
            <a:ext cx="693208" cy="46666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/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/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C4568FD4-2D7B-C619-EA6F-0E936EC566F3}"/>
              </a:ext>
            </a:extLst>
          </p:cNvPr>
          <p:cNvCxnSpPr>
            <a:cxnSpLocks/>
          </p:cNvCxnSpPr>
          <p:nvPr/>
        </p:nvCxnSpPr>
        <p:spPr>
          <a:xfrm flipH="1">
            <a:off x="5277025" y="6232540"/>
            <a:ext cx="2204061" cy="26362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/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/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/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blipFill>
                <a:blip r:embed="rId160"/>
                <a:stretch>
                  <a:fillRect r="-191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FC665856-0588-7DE6-7D68-895464CE3F69}"/>
              </a:ext>
            </a:extLst>
          </p:cNvPr>
          <p:cNvCxnSpPr>
            <a:cxnSpLocks/>
            <a:endCxn id="211" idx="2"/>
          </p:cNvCxnSpPr>
          <p:nvPr/>
        </p:nvCxnSpPr>
        <p:spPr>
          <a:xfrm flipV="1">
            <a:off x="7849949" y="5584136"/>
            <a:ext cx="898246" cy="4163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4C231E53-8886-9774-B27D-107EE6EB87CD}"/>
              </a:ext>
            </a:extLst>
          </p:cNvPr>
          <p:cNvCxnSpPr>
            <a:cxnSpLocks/>
          </p:cNvCxnSpPr>
          <p:nvPr/>
        </p:nvCxnSpPr>
        <p:spPr>
          <a:xfrm flipV="1">
            <a:off x="5082216" y="5582638"/>
            <a:ext cx="3414668" cy="8498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/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/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668D4DF8-1B0D-9A26-0C38-051536EC703D}"/>
              </a:ext>
            </a:extLst>
          </p:cNvPr>
          <p:cNvCxnSpPr>
            <a:cxnSpLocks/>
          </p:cNvCxnSpPr>
          <p:nvPr/>
        </p:nvCxnSpPr>
        <p:spPr>
          <a:xfrm flipH="1" flipV="1">
            <a:off x="8788527" y="4027057"/>
            <a:ext cx="4805" cy="12059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/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/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7590E981-6DDB-AFF9-6B2A-2F5031999778}"/>
              </a:ext>
            </a:extLst>
          </p:cNvPr>
          <p:cNvCxnSpPr>
            <a:cxnSpLocks/>
          </p:cNvCxnSpPr>
          <p:nvPr/>
        </p:nvCxnSpPr>
        <p:spPr>
          <a:xfrm flipV="1">
            <a:off x="9034819" y="4507518"/>
            <a:ext cx="173629" cy="7778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/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/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/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/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/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blipFill>
                <a:blip r:embed="rId1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FF8F85F-8DA6-793A-E4B1-83FFE1C8FE1B}"/>
              </a:ext>
            </a:extLst>
          </p:cNvPr>
          <p:cNvCxnSpPr>
            <a:cxnSpLocks/>
          </p:cNvCxnSpPr>
          <p:nvPr/>
        </p:nvCxnSpPr>
        <p:spPr>
          <a:xfrm>
            <a:off x="5352950" y="1828389"/>
            <a:ext cx="652391" cy="145774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mit Pfeil 247">
            <a:extLst>
              <a:ext uri="{FF2B5EF4-FFF2-40B4-BE49-F238E27FC236}">
                <a16:creationId xmlns:a16="http://schemas.microsoft.com/office/drawing/2014/main" id="{D98FD4DD-4A61-FC51-61FB-AB8EFC0BA36C}"/>
              </a:ext>
            </a:extLst>
          </p:cNvPr>
          <p:cNvCxnSpPr>
            <a:cxnSpLocks/>
          </p:cNvCxnSpPr>
          <p:nvPr/>
        </p:nvCxnSpPr>
        <p:spPr>
          <a:xfrm>
            <a:off x="4370036" y="1774222"/>
            <a:ext cx="1431118" cy="2251552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/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/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blipFill>
                <a:blip r:embed="rId1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/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/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8B5EF964-D3D5-65A7-B2A8-2011BB20CA19}"/>
              </a:ext>
            </a:extLst>
          </p:cNvPr>
          <p:cNvCxnSpPr>
            <a:cxnSpLocks/>
          </p:cNvCxnSpPr>
          <p:nvPr/>
        </p:nvCxnSpPr>
        <p:spPr>
          <a:xfrm>
            <a:off x="6362769" y="4212986"/>
            <a:ext cx="2672050" cy="16569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/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/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EE98F0DD-F23C-8668-F014-1DF73D460A4C}"/>
              </a:ext>
            </a:extLst>
          </p:cNvPr>
          <p:cNvCxnSpPr>
            <a:cxnSpLocks/>
          </p:cNvCxnSpPr>
          <p:nvPr/>
        </p:nvCxnSpPr>
        <p:spPr>
          <a:xfrm>
            <a:off x="6623162" y="3545188"/>
            <a:ext cx="772327" cy="27603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/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/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/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95277DD9-7F88-A6AB-B88A-C65C0C3BD530}"/>
              </a:ext>
            </a:extLst>
          </p:cNvPr>
          <p:cNvCxnSpPr>
            <a:cxnSpLocks/>
          </p:cNvCxnSpPr>
          <p:nvPr/>
        </p:nvCxnSpPr>
        <p:spPr>
          <a:xfrm flipV="1">
            <a:off x="6637966" y="2829033"/>
            <a:ext cx="378073" cy="40260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/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/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blipFill>
                <a:blip r:embed="rId1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/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blipFill>
                <a:blip r:embed="rId1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/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blipFill>
                <a:blip r:embed="rId178"/>
                <a:stretch>
                  <a:fillRect r="-982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/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blipFill>
                <a:blip r:embed="rId179"/>
                <a:stretch>
                  <a:fillRect r="-9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7" name="Textfeld 306">
            <a:extLst>
              <a:ext uri="{FF2B5EF4-FFF2-40B4-BE49-F238E27FC236}">
                <a16:creationId xmlns:a16="http://schemas.microsoft.com/office/drawing/2014/main" id="{C204C341-C587-6B2A-AE3C-2B455E3B491F}"/>
              </a:ext>
            </a:extLst>
          </p:cNvPr>
          <p:cNvSpPr txBox="1"/>
          <p:nvPr/>
        </p:nvSpPr>
        <p:spPr>
          <a:xfrm>
            <a:off x="6139849" y="3609858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38309D4C-43A6-87B4-5F20-06CBC6FC9565}"/>
              </a:ext>
            </a:extLst>
          </p:cNvPr>
          <p:cNvCxnSpPr>
            <a:cxnSpLocks/>
            <a:endCxn id="287" idx="1"/>
          </p:cNvCxnSpPr>
          <p:nvPr/>
        </p:nvCxnSpPr>
        <p:spPr>
          <a:xfrm flipH="1">
            <a:off x="6338060" y="2510760"/>
            <a:ext cx="1510191" cy="12520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/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blipFill>
                <a:blip r:embed="rId1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8DC3C1CF-F631-DEA2-AD2D-BC5A53AD7ADE}"/>
              </a:ext>
            </a:extLst>
          </p:cNvPr>
          <p:cNvCxnSpPr>
            <a:cxnSpLocks/>
          </p:cNvCxnSpPr>
          <p:nvPr/>
        </p:nvCxnSpPr>
        <p:spPr>
          <a:xfrm>
            <a:off x="8818305" y="3935968"/>
            <a:ext cx="370590" cy="3177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Textfeld 335">
            <a:extLst>
              <a:ext uri="{FF2B5EF4-FFF2-40B4-BE49-F238E27FC236}">
                <a16:creationId xmlns:a16="http://schemas.microsoft.com/office/drawing/2014/main" id="{06728B3B-DE26-1F35-D2C3-E7777033D591}"/>
              </a:ext>
            </a:extLst>
          </p:cNvPr>
          <p:cNvSpPr txBox="1"/>
          <p:nvPr/>
        </p:nvSpPr>
        <p:spPr>
          <a:xfrm>
            <a:off x="8007417" y="3791037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/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blipFill>
                <a:blip r:embed="rId18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3446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41134" y="575335"/>
                <a:ext cx="13982226" cy="622407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134" y="575335"/>
                <a:ext cx="13982226" cy="622407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3270494" y="2027347"/>
            <a:ext cx="287662" cy="511794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535167" y="4736086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7021247" y="3548657"/>
            <a:ext cx="283128" cy="2063928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6218703" y="47204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504864" y="2645870"/>
            <a:ext cx="287662" cy="60579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27312" y="57824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26208" y="463360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692040" y="578523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1414957" y="2981946"/>
            <a:ext cx="287662" cy="53318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10386672" y="5772293"/>
            <a:ext cx="21598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553881" y="573827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19713" y="688990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914945" y="3803736"/>
            <a:ext cx="287662" cy="593862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549846" y="690533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997973" y="575779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9174642" y="691114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58F943D-C0DA-05AE-B44A-A85731743117}"/>
              </a:ext>
            </a:extLst>
          </p:cNvPr>
          <p:cNvSpPr/>
          <p:nvPr/>
        </p:nvSpPr>
        <p:spPr>
          <a:xfrm rot="5400000">
            <a:off x="4646979" y="-1290142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D56A5F9-E24F-F515-42BD-F93595712841}"/>
              </a:ext>
            </a:extLst>
          </p:cNvPr>
          <p:cNvSpPr txBox="1"/>
          <p:nvPr/>
        </p:nvSpPr>
        <p:spPr>
          <a:xfrm>
            <a:off x="3110143" y="132457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23" name="Right Brace 16">
            <a:extLst>
              <a:ext uri="{FF2B5EF4-FFF2-40B4-BE49-F238E27FC236}">
                <a16:creationId xmlns:a16="http://schemas.microsoft.com/office/drawing/2014/main" id="{277CEDEC-651E-B8BF-9283-7BB941C23138}"/>
              </a:ext>
            </a:extLst>
          </p:cNvPr>
          <p:cNvSpPr/>
          <p:nvPr/>
        </p:nvSpPr>
        <p:spPr>
          <a:xfrm rot="5400000">
            <a:off x="6416978" y="-2981546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52E8F89A-1905-59B5-4B04-1DBDFEE6E5AE}"/>
              </a:ext>
            </a:extLst>
          </p:cNvPr>
          <p:cNvSpPr txBox="1"/>
          <p:nvPr/>
        </p:nvSpPr>
        <p:spPr>
          <a:xfrm>
            <a:off x="3937681" y="2509581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32" name="Right Brace 22">
            <a:extLst>
              <a:ext uri="{FF2B5EF4-FFF2-40B4-BE49-F238E27FC236}">
                <a16:creationId xmlns:a16="http://schemas.microsoft.com/office/drawing/2014/main" id="{5DB2C2C2-8882-6558-CB48-4208FD52F50D}"/>
              </a:ext>
            </a:extLst>
          </p:cNvPr>
          <p:cNvSpPr/>
          <p:nvPr/>
        </p:nvSpPr>
        <p:spPr>
          <a:xfrm rot="5400000">
            <a:off x="5271783" y="529112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0B77998F-AEFC-8377-EE0B-D045025098B2}"/>
              </a:ext>
            </a:extLst>
          </p:cNvPr>
          <p:cNvSpPr txBox="1"/>
          <p:nvPr/>
        </p:nvSpPr>
        <p:spPr>
          <a:xfrm>
            <a:off x="3975207" y="348928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4" name="Right Brace 20">
            <a:extLst>
              <a:ext uri="{FF2B5EF4-FFF2-40B4-BE49-F238E27FC236}">
                <a16:creationId xmlns:a16="http://schemas.microsoft.com/office/drawing/2014/main" id="{DEA84341-84B6-711E-8A79-57DDA9341654}"/>
              </a:ext>
            </a:extLst>
          </p:cNvPr>
          <p:cNvSpPr/>
          <p:nvPr/>
        </p:nvSpPr>
        <p:spPr>
          <a:xfrm rot="5400000">
            <a:off x="10064425" y="1582902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9749BE09-8BB7-279B-0C23-6D3488223220}"/>
              </a:ext>
            </a:extLst>
          </p:cNvPr>
          <p:cNvSpPr txBox="1"/>
          <p:nvPr/>
        </p:nvSpPr>
        <p:spPr>
          <a:xfrm>
            <a:off x="9284302" y="342900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8125536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478925" y="2432394"/>
            <a:ext cx="287662" cy="6214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23185" y="564714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42209" y="45098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708042" y="5661493"/>
            <a:ext cx="210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562120" y="3647532"/>
            <a:ext cx="287662" cy="57631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230420" y="6661412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598442" y="54994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775111" y="66527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6229694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506741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) of drug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/>
              <p:nvPr/>
            </p:nvSpPr>
            <p:spPr>
              <a:xfrm>
                <a:off x="300799" y="406117"/>
                <a:ext cx="11889996" cy="66954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799" y="406117"/>
                <a:ext cx="11889996" cy="669542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ight Brace 24">
            <a:extLst>
              <a:ext uri="{FF2B5EF4-FFF2-40B4-BE49-F238E27FC236}">
                <a16:creationId xmlns:a16="http://schemas.microsoft.com/office/drawing/2014/main" id="{D6A98A90-D59B-4776-86B2-DA2DA8EFE6B2}"/>
              </a:ext>
            </a:extLst>
          </p:cNvPr>
          <p:cNvSpPr/>
          <p:nvPr/>
        </p:nvSpPr>
        <p:spPr>
          <a:xfrm rot="5400000">
            <a:off x="4633318" y="-1622610"/>
            <a:ext cx="149668" cy="6313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6BAAC4-2F20-4865-AD39-C56D4FB21199}"/>
              </a:ext>
            </a:extLst>
          </p:cNvPr>
          <p:cNvSpPr txBox="1"/>
          <p:nvPr/>
        </p:nvSpPr>
        <p:spPr>
          <a:xfrm>
            <a:off x="3673795" y="163203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From central space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A5AF440-BA51-4F3C-9BD3-DC370DA1409B}"/>
              </a:ext>
            </a:extLst>
          </p:cNvPr>
          <p:cNvSpPr txBox="1"/>
          <p:nvPr/>
        </p:nvSpPr>
        <p:spPr>
          <a:xfrm>
            <a:off x="8735360" y="1565703"/>
            <a:ext cx="2786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lux of drug from the cell</a:t>
            </a:r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F165A214-61E9-4251-9ECD-D5DFE4CFF3CA}"/>
              </a:ext>
            </a:extLst>
          </p:cNvPr>
          <p:cNvSpPr/>
          <p:nvPr/>
        </p:nvSpPr>
        <p:spPr>
          <a:xfrm rot="5400000">
            <a:off x="9829571" y="-355478"/>
            <a:ext cx="130941" cy="3711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AFD58BE1-BDB4-4F7D-8214-317D105BE626}"/>
              </a:ext>
            </a:extLst>
          </p:cNvPr>
          <p:cNvSpPr/>
          <p:nvPr/>
        </p:nvSpPr>
        <p:spPr>
          <a:xfrm rot="5400000">
            <a:off x="3429588" y="848082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5FAA651A-7CF6-4BC9-8DB7-370FDB17387A}"/>
              </a:ext>
            </a:extLst>
          </p:cNvPr>
          <p:cNvSpPr/>
          <p:nvPr/>
        </p:nvSpPr>
        <p:spPr>
          <a:xfrm rot="5400000">
            <a:off x="2440601" y="416537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ED274A-47A7-465E-AFC2-29513B84F086}"/>
              </a:ext>
            </a:extLst>
          </p:cNvPr>
          <p:cNvSpPr txBox="1"/>
          <p:nvPr/>
        </p:nvSpPr>
        <p:spPr>
          <a:xfrm>
            <a:off x="1960792" y="2793674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B3C78E-53DE-4CE5-BCA5-D71AD7A94948}"/>
              </a:ext>
            </a:extLst>
          </p:cNvPr>
          <p:cNvSpPr txBox="1"/>
          <p:nvPr/>
        </p:nvSpPr>
        <p:spPr>
          <a:xfrm>
            <a:off x="1280449" y="4099194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4">
            <a:extLst>
              <a:ext uri="{FF2B5EF4-FFF2-40B4-BE49-F238E27FC236}">
                <a16:creationId xmlns:a16="http://schemas.microsoft.com/office/drawing/2014/main" id="{5AAEEBBD-39E4-D612-68BB-C86F8EBAF148}"/>
              </a:ext>
            </a:extLst>
          </p:cNvPr>
          <p:cNvSpPr/>
          <p:nvPr/>
        </p:nvSpPr>
        <p:spPr>
          <a:xfrm rot="5400000">
            <a:off x="5725651" y="179863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FE228308-F867-A467-949E-8D29E2E6D540}"/>
              </a:ext>
            </a:extLst>
          </p:cNvPr>
          <p:cNvSpPr txBox="1"/>
          <p:nvPr/>
        </p:nvSpPr>
        <p:spPr>
          <a:xfrm>
            <a:off x="5086751" y="2675007"/>
            <a:ext cx="14035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o metabolism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79A16316-1D75-5B90-8C99-6FDB942078AC}"/>
              </a:ext>
            </a:extLst>
          </p:cNvPr>
          <p:cNvSpPr/>
          <p:nvPr/>
        </p:nvSpPr>
        <p:spPr>
          <a:xfrm rot="5400000">
            <a:off x="9475794" y="1453655"/>
            <a:ext cx="287662" cy="5142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52FF7DB-FDE1-0459-2F53-6ED06D2628F3}"/>
              </a:ext>
            </a:extLst>
          </p:cNvPr>
          <p:cNvSpPr txBox="1"/>
          <p:nvPr/>
        </p:nvSpPr>
        <p:spPr>
          <a:xfrm>
            <a:off x="8803703" y="4158015"/>
            <a:ext cx="2808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7" name="Right Brace 11">
            <a:extLst>
              <a:ext uri="{FF2B5EF4-FFF2-40B4-BE49-F238E27FC236}">
                <a16:creationId xmlns:a16="http://schemas.microsoft.com/office/drawing/2014/main" id="{C5D1A2B7-55E8-A965-691E-AAC9BE917EDF}"/>
              </a:ext>
            </a:extLst>
          </p:cNvPr>
          <p:cNvSpPr/>
          <p:nvPr/>
        </p:nvSpPr>
        <p:spPr>
          <a:xfrm rot="5400000">
            <a:off x="2101519" y="3680815"/>
            <a:ext cx="283128" cy="34891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F6066DBC-B985-A79F-D50C-3CFCD979A922}"/>
              </a:ext>
            </a:extLst>
          </p:cNvPr>
          <p:cNvSpPr txBox="1"/>
          <p:nvPr/>
        </p:nvSpPr>
        <p:spPr>
          <a:xfrm>
            <a:off x="973076" y="5545055"/>
            <a:ext cx="3163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9" name="Right Brace 11">
            <a:extLst>
              <a:ext uri="{FF2B5EF4-FFF2-40B4-BE49-F238E27FC236}">
                <a16:creationId xmlns:a16="http://schemas.microsoft.com/office/drawing/2014/main" id="{27152F6E-4F27-664C-B7C2-A34FCE0EF6A1}"/>
              </a:ext>
            </a:extLst>
          </p:cNvPr>
          <p:cNvSpPr/>
          <p:nvPr/>
        </p:nvSpPr>
        <p:spPr>
          <a:xfrm rot="5400000">
            <a:off x="7730169" y="1959105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773C965C-AE6A-4255-0069-D6C209798F31}"/>
              </a:ext>
            </a:extLst>
          </p:cNvPr>
          <p:cNvSpPr txBox="1"/>
          <p:nvPr/>
        </p:nvSpPr>
        <p:spPr>
          <a:xfrm>
            <a:off x="5587506" y="5545054"/>
            <a:ext cx="60243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1078FC23-B44D-FA28-2D88-B7FC69165597}"/>
              </a:ext>
            </a:extLst>
          </p:cNvPr>
          <p:cNvSpPr/>
          <p:nvPr/>
        </p:nvSpPr>
        <p:spPr>
          <a:xfrm rot="5400000">
            <a:off x="2552211" y="4554149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E2FC50FE-04B2-58AD-0220-D75273928553}"/>
              </a:ext>
            </a:extLst>
          </p:cNvPr>
          <p:cNvSpPr txBox="1"/>
          <p:nvPr/>
        </p:nvSpPr>
        <p:spPr>
          <a:xfrm>
            <a:off x="300796" y="7066788"/>
            <a:ext cx="5067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11915954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421663" y="422759"/>
                <a:ext cx="11738979" cy="68168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663" y="422759"/>
                <a:ext cx="11738979" cy="681686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04864" y="-2245592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50339" y="1501539"/>
            <a:ext cx="17637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1 in tumor extracellular space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479493" y="51885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40593" y="1395233"/>
            <a:ext cx="1649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270127" y="2944698"/>
            <a:ext cx="344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24038" y="1064457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3167785" y="1495216"/>
            <a:ext cx="323615" cy="58158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46228" y="662671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566419" y="3039808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1301886" y="4399756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B15EBC2C-CF42-BFBE-8A55-E5A2E469E0EE}"/>
              </a:ext>
            </a:extLst>
          </p:cNvPr>
          <p:cNvSpPr/>
          <p:nvPr/>
        </p:nvSpPr>
        <p:spPr>
          <a:xfrm rot="5400000">
            <a:off x="8858790" y="174268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743D3AF8-7338-5460-2B5C-EAA4CF86443C}"/>
              </a:ext>
            </a:extLst>
          </p:cNvPr>
          <p:cNvSpPr txBox="1"/>
          <p:nvPr/>
        </p:nvSpPr>
        <p:spPr>
          <a:xfrm>
            <a:off x="8082772" y="4487640"/>
            <a:ext cx="3057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7D0EEA75-AD47-A002-0F3A-490D03667F68}"/>
              </a:ext>
            </a:extLst>
          </p:cNvPr>
          <p:cNvSpPr/>
          <p:nvPr/>
        </p:nvSpPr>
        <p:spPr>
          <a:xfrm rot="5400000">
            <a:off x="2769898" y="3699437"/>
            <a:ext cx="283128" cy="35849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71919870-9526-EC08-B34E-74A6DDC249E2}"/>
              </a:ext>
            </a:extLst>
          </p:cNvPr>
          <p:cNvSpPr txBox="1"/>
          <p:nvPr/>
        </p:nvSpPr>
        <p:spPr>
          <a:xfrm>
            <a:off x="1593561" y="5515134"/>
            <a:ext cx="316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0F0DAD-0F67-C6BF-8D0B-333FE714E260}"/>
              </a:ext>
            </a:extLst>
          </p:cNvPr>
          <p:cNvSpPr/>
          <p:nvPr/>
        </p:nvSpPr>
        <p:spPr>
          <a:xfrm rot="5400000">
            <a:off x="8173746" y="2058268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3DCBEA43-879A-FE49-D94B-0E8A4BB487D3}"/>
              </a:ext>
            </a:extLst>
          </p:cNvPr>
          <p:cNvSpPr txBox="1"/>
          <p:nvPr/>
        </p:nvSpPr>
        <p:spPr>
          <a:xfrm>
            <a:off x="6031082" y="5547781"/>
            <a:ext cx="5672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6307E4AA-5DCE-3ECF-E31A-CD41A627E4AB}"/>
              </a:ext>
            </a:extLst>
          </p:cNvPr>
          <p:cNvSpPr/>
          <p:nvPr/>
        </p:nvSpPr>
        <p:spPr>
          <a:xfrm rot="5400000">
            <a:off x="3280002" y="4151365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DF0D818F-E3B6-70C2-EF2E-6E05414B8C0B}"/>
              </a:ext>
            </a:extLst>
          </p:cNvPr>
          <p:cNvSpPr txBox="1"/>
          <p:nvPr/>
        </p:nvSpPr>
        <p:spPr>
          <a:xfrm>
            <a:off x="1004608" y="6595037"/>
            <a:ext cx="5815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36628122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2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1910924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1476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ntibody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8243" y="1003747"/>
            <a:ext cx="287662" cy="44960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922188" y="2191271"/>
            <a:ext cx="287662" cy="45369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8330783" y="34120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7396615" y="456364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612566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0834" y="83707"/>
                <a:ext cx="12121167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34" y="83707"/>
                <a:ext cx="12121167" cy="6172844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42937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bound to binding target on a single cell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5969587" y="-2983292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190301" y="164533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4922649" y="298061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5634204" y="193376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4676312" y="1746931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5524" y="296454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545336" y="194172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12232" y="299526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0145" y="461140"/>
            <a:ext cx="287662" cy="50814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219697" y="300227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213718" y="415430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5312517" y="1175716"/>
            <a:ext cx="287662" cy="57938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9359246" y="307369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8353267" y="4225729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504164" y="2709132"/>
            <a:ext cx="287662" cy="486855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6273573" y="412008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5320531" y="5222508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2051114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6423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489548" y="2444864"/>
            <a:ext cx="287662" cy="39158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5569305" y="33469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95118" y="450043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0046714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69999"/>
                <a:ext cx="12547568" cy="5136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69999"/>
                <a:ext cx="12547568" cy="5136663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9856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bound to binding target on a single cell, j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530104" y="912885"/>
            <a:ext cx="287662" cy="47341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114103" y="46994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179935" y="5851113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911126" y="3043577"/>
            <a:ext cx="287662" cy="5370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730841" y="46945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796673" y="584621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4495521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1953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2291087" y="2305312"/>
            <a:ext cx="287662" cy="4158755"/>
          </a:xfrm>
          <a:prstGeom prst="rightBrace">
            <a:avLst>
              <a:gd name="adj1" fmla="val 161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1019684" y="44946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5448462" y="33812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4514294" y="4532892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68819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/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/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/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/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11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/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blipFill>
                <a:blip r:embed="rId12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/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blipFill>
                <a:blip r:embed="rId13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/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blipFill>
                <a:blip r:embed="rId14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/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blipFill>
                <a:blip r:embed="rId15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/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blipFill>
                <a:blip r:embed="rId16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0AFBBFE-4D17-B6F7-4750-F9770392661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054125" y="4731305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EF7F4CE-1F4C-247E-EFDD-7EB32256CF34}"/>
              </a:ext>
            </a:extLst>
          </p:cNvPr>
          <p:cNvCxnSpPr>
            <a:cxnSpLocks/>
          </p:cNvCxnSpPr>
          <p:nvPr/>
        </p:nvCxnSpPr>
        <p:spPr>
          <a:xfrm>
            <a:off x="1031630" y="5532052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CA1C14-C6A0-6689-2ED8-C70CB10F19F1}"/>
              </a:ext>
            </a:extLst>
          </p:cNvPr>
          <p:cNvCxnSpPr/>
          <p:nvPr/>
        </p:nvCxnSpPr>
        <p:spPr>
          <a:xfrm>
            <a:off x="2684342" y="2607640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A30CEA8-17B7-5F23-7943-47A0C404507F}"/>
              </a:ext>
            </a:extLst>
          </p:cNvPr>
          <p:cNvCxnSpPr>
            <a:cxnSpLocks/>
          </p:cNvCxnSpPr>
          <p:nvPr/>
        </p:nvCxnSpPr>
        <p:spPr>
          <a:xfrm>
            <a:off x="2689557" y="4756821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F65021-BE6E-4A3D-093B-2FB1B9241873}"/>
              </a:ext>
            </a:extLst>
          </p:cNvPr>
          <p:cNvCxnSpPr>
            <a:cxnSpLocks/>
          </p:cNvCxnSpPr>
          <p:nvPr/>
        </p:nvCxnSpPr>
        <p:spPr>
          <a:xfrm flipH="1">
            <a:off x="4217581" y="3184466"/>
            <a:ext cx="1340" cy="1181983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C05EFD7-1A14-802D-79DF-BE5BD42F2059}"/>
              </a:ext>
            </a:extLst>
          </p:cNvPr>
          <p:cNvCxnSpPr>
            <a:cxnSpLocks/>
          </p:cNvCxnSpPr>
          <p:nvPr/>
        </p:nvCxnSpPr>
        <p:spPr>
          <a:xfrm>
            <a:off x="4517313" y="3030787"/>
            <a:ext cx="3025062" cy="13259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8110A6F-1E0C-08EA-4425-DDF55298E849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6281459" y="3660890"/>
            <a:ext cx="1214734" cy="852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1EE4F6A3-BDA7-2636-09D5-ECF430DAC06C}"/>
              </a:ext>
            </a:extLst>
          </p:cNvPr>
          <p:cNvCxnSpPr>
            <a:cxnSpLocks/>
          </p:cNvCxnSpPr>
          <p:nvPr/>
        </p:nvCxnSpPr>
        <p:spPr>
          <a:xfrm>
            <a:off x="7782817" y="3184467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87DA5DB-40D8-CE0B-6EA8-1CA69A4ABFC9}"/>
              </a:ext>
            </a:extLst>
          </p:cNvPr>
          <p:cNvCxnSpPr>
            <a:cxnSpLocks/>
          </p:cNvCxnSpPr>
          <p:nvPr/>
        </p:nvCxnSpPr>
        <p:spPr>
          <a:xfrm>
            <a:off x="7782817" y="3810546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8C0E144-500B-DDCF-F272-F584348A06B9}"/>
              </a:ext>
            </a:extLst>
          </p:cNvPr>
          <p:cNvCxnSpPr>
            <a:cxnSpLocks/>
          </p:cNvCxnSpPr>
          <p:nvPr/>
        </p:nvCxnSpPr>
        <p:spPr>
          <a:xfrm>
            <a:off x="4425696" y="3184466"/>
            <a:ext cx="1255849" cy="4172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66BE891C-FE03-82DE-51BE-AE162EA1C342}"/>
              </a:ext>
            </a:extLst>
          </p:cNvPr>
          <p:cNvCxnSpPr>
            <a:cxnSpLocks/>
          </p:cNvCxnSpPr>
          <p:nvPr/>
        </p:nvCxnSpPr>
        <p:spPr>
          <a:xfrm>
            <a:off x="2897076" y="2559238"/>
            <a:ext cx="1050638" cy="3955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8AFF94A-F947-0C85-DBD9-F75F6428FDD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268197" y="4563791"/>
            <a:ext cx="1055631" cy="3859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BDE37CB-2C67-73E1-9525-1AC8093FF47E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40750" y="5390399"/>
            <a:ext cx="983077" cy="397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B572472-4035-EE86-1B8A-C231A26D3279}"/>
              </a:ext>
            </a:extLst>
          </p:cNvPr>
          <p:cNvCxnSpPr>
            <a:cxnSpLocks/>
          </p:cNvCxnSpPr>
          <p:nvPr/>
        </p:nvCxnSpPr>
        <p:spPr>
          <a:xfrm>
            <a:off x="2984077" y="4558959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00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3" y="17636"/>
                <a:ext cx="12805144" cy="5937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3" y="17636"/>
                <a:ext cx="12805144" cy="5937716"/>
              </a:xfrm>
              <a:prstGeom prst="rect">
                <a:avLst/>
              </a:prstGeom>
              <a:blipFill>
                <a:blip r:embed="rId3"/>
                <a:stretch>
                  <a:fillRect l="-4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84240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 and j = 1,2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3126923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441244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276482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171769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1709738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2767874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502398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2773644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846D407E-63AA-671F-8BDC-940B1A78858B}"/>
              </a:ext>
            </a:extLst>
          </p:cNvPr>
          <p:cNvSpPr/>
          <p:nvPr/>
        </p:nvSpPr>
        <p:spPr>
          <a:xfrm rot="5400000">
            <a:off x="2788988" y="1478758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57F1BD-DECC-BB4E-A2B0-E71C9159D662}"/>
              </a:ext>
            </a:extLst>
          </p:cNvPr>
          <p:cNvSpPr txBox="1"/>
          <p:nvPr/>
        </p:nvSpPr>
        <p:spPr>
          <a:xfrm>
            <a:off x="2317883" y="3923274"/>
            <a:ext cx="195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8550B02-69B3-89C6-915C-02A5843D7D27}"/>
              </a:ext>
            </a:extLst>
          </p:cNvPr>
          <p:cNvSpPr/>
          <p:nvPr/>
        </p:nvSpPr>
        <p:spPr>
          <a:xfrm rot="5400000">
            <a:off x="6683860" y="2444750"/>
            <a:ext cx="283128" cy="2665455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A73FFA5C-3265-E329-810A-380522A62570}"/>
              </a:ext>
            </a:extLst>
          </p:cNvPr>
          <p:cNvSpPr txBox="1"/>
          <p:nvPr/>
        </p:nvSpPr>
        <p:spPr>
          <a:xfrm>
            <a:off x="5587297" y="3917344"/>
            <a:ext cx="236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7AEC673D-6144-40BB-5C91-B1D8BFC915E2}"/>
              </a:ext>
            </a:extLst>
          </p:cNvPr>
          <p:cNvSpPr/>
          <p:nvPr/>
        </p:nvSpPr>
        <p:spPr>
          <a:xfrm rot="5400000">
            <a:off x="3452761" y="1939690"/>
            <a:ext cx="287662" cy="60076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39E59C7-F9DB-EF87-110C-E40A06851652}"/>
              </a:ext>
            </a:extLst>
          </p:cNvPr>
          <p:cNvSpPr txBox="1"/>
          <p:nvPr/>
        </p:nvSpPr>
        <p:spPr>
          <a:xfrm>
            <a:off x="2452364" y="497898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4B19DEED-ED62-1D3F-A6FD-F79DDD730207}"/>
              </a:ext>
            </a:extLst>
          </p:cNvPr>
          <p:cNvSpPr/>
          <p:nvPr/>
        </p:nvSpPr>
        <p:spPr>
          <a:xfrm rot="5400000">
            <a:off x="9162821" y="27295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1BA0CDD9-3794-1F52-E54A-1D8EB26EA246}"/>
              </a:ext>
            </a:extLst>
          </p:cNvPr>
          <p:cNvSpPr txBox="1"/>
          <p:nvPr/>
        </p:nvSpPr>
        <p:spPr>
          <a:xfrm>
            <a:off x="8228653" y="3881192"/>
            <a:ext cx="2181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24" name="Right Brace 11">
            <a:extLst>
              <a:ext uri="{FF2B5EF4-FFF2-40B4-BE49-F238E27FC236}">
                <a16:creationId xmlns:a16="http://schemas.microsoft.com/office/drawing/2014/main" id="{7B593B32-32FE-9229-3C7B-B4C07F4C2B56}"/>
              </a:ext>
            </a:extLst>
          </p:cNvPr>
          <p:cNvSpPr/>
          <p:nvPr/>
        </p:nvSpPr>
        <p:spPr>
          <a:xfrm rot="5400000">
            <a:off x="9166488" y="2338303"/>
            <a:ext cx="287662" cy="5166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653651F7-4AF1-4F3D-C5E8-6533BC83DC11}"/>
              </a:ext>
            </a:extLst>
          </p:cNvPr>
          <p:cNvSpPr txBox="1"/>
          <p:nvPr/>
        </p:nvSpPr>
        <p:spPr>
          <a:xfrm>
            <a:off x="8369432" y="4974955"/>
            <a:ext cx="2859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28" name="Right Brace 11">
            <a:extLst>
              <a:ext uri="{FF2B5EF4-FFF2-40B4-BE49-F238E27FC236}">
                <a16:creationId xmlns:a16="http://schemas.microsoft.com/office/drawing/2014/main" id="{C2897A50-CB44-8585-33FA-3162F92E5586}"/>
              </a:ext>
            </a:extLst>
          </p:cNvPr>
          <p:cNvSpPr/>
          <p:nvPr/>
        </p:nvSpPr>
        <p:spPr>
          <a:xfrm rot="5400000">
            <a:off x="1582694" y="4844065"/>
            <a:ext cx="283128" cy="24260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6B56E27E-1DAD-7249-369C-05EA4C55F2FB}"/>
              </a:ext>
            </a:extLst>
          </p:cNvPr>
          <p:cNvSpPr txBox="1"/>
          <p:nvPr/>
        </p:nvSpPr>
        <p:spPr>
          <a:xfrm>
            <a:off x="467443" y="61767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1705812D-06D8-1ECB-6C2B-2B93EC003FDF}"/>
              </a:ext>
            </a:extLst>
          </p:cNvPr>
          <p:cNvSpPr/>
          <p:nvPr/>
        </p:nvSpPr>
        <p:spPr>
          <a:xfrm rot="5400000">
            <a:off x="6011761" y="2972915"/>
            <a:ext cx="287662" cy="61571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BE8CD1A3-F5F7-DD6D-97A7-255DFEE232D8}"/>
              </a:ext>
            </a:extLst>
          </p:cNvPr>
          <p:cNvSpPr txBox="1"/>
          <p:nvPr/>
        </p:nvSpPr>
        <p:spPr>
          <a:xfrm>
            <a:off x="4839998" y="6183762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38" name="Right Brace 11">
            <a:extLst>
              <a:ext uri="{FF2B5EF4-FFF2-40B4-BE49-F238E27FC236}">
                <a16:creationId xmlns:a16="http://schemas.microsoft.com/office/drawing/2014/main" id="{B9DFEBBA-ECDD-E444-D1B3-FF98F6120F89}"/>
              </a:ext>
            </a:extLst>
          </p:cNvPr>
          <p:cNvSpPr/>
          <p:nvPr/>
        </p:nvSpPr>
        <p:spPr>
          <a:xfrm rot="5400000">
            <a:off x="10271695" y="50260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0E2D0727-CD17-CD33-CDCE-14B37771F6C7}"/>
              </a:ext>
            </a:extLst>
          </p:cNvPr>
          <p:cNvSpPr txBox="1"/>
          <p:nvPr/>
        </p:nvSpPr>
        <p:spPr>
          <a:xfrm>
            <a:off x="9448364" y="6179439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3101542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24476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3217494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2170369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3468271" y="1095613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7877747" y="3121691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7062501" y="4392240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3468271" y="2205417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7875770" y="4254576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6933516" y="5526845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64068278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317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01522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9615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internalized in endosomal/lysosomal space on a single cell, j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89482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30125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internalized in endosomal/lysosomal space on a single cell, </a:t>
            </a:r>
          </a:p>
          <a:p>
            <a:r>
              <a:rPr lang="en-US" dirty="0" err="1"/>
              <a:t>i</a:t>
            </a:r>
            <a:r>
              <a:rPr lang="en-US" dirty="0"/>
              <a:t> = 1,2,3,4 and j = 1,2,3,4 with </a:t>
            </a:r>
            <a:r>
              <a:rPr lang="en-US" dirty="0" err="1"/>
              <a:t>i</a:t>
            </a:r>
            <a:r>
              <a:rPr lang="en-US" dirty="0"/>
              <a:t> + j &lt;= max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4244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263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51750220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6365195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endosomal/lysosomal space on a single cell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3366344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3058965" y="3760550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5758179" y="59719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5242769" y="19452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6104490" y="2327558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5432113" y="3710119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8546936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7962917" y="3708329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42660717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654288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𝑟𝑢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𝑚𝑒𝑡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968878" y="1596937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AC8308A-1F7C-4094-9B70-EC87CB2B6770}"/>
              </a:ext>
            </a:extLst>
          </p:cNvPr>
          <p:cNvSpPr/>
          <p:nvPr/>
        </p:nvSpPr>
        <p:spPr>
          <a:xfrm rot="5400000">
            <a:off x="5029811" y="-1563576"/>
            <a:ext cx="226947" cy="890677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CB3A2D31-2DAF-4E5F-8C29-23DBDE8F8D6F}"/>
              </a:ext>
            </a:extLst>
          </p:cNvPr>
          <p:cNvSpPr/>
          <p:nvPr/>
        </p:nvSpPr>
        <p:spPr>
          <a:xfrm rot="5400000">
            <a:off x="1945727" y="2719038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0061117" y="172511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5CCCA9-5311-4C90-9FEF-680B523468C2}"/>
              </a:ext>
            </a:extLst>
          </p:cNvPr>
          <p:cNvSpPr txBox="1"/>
          <p:nvPr/>
        </p:nvSpPr>
        <p:spPr>
          <a:xfrm>
            <a:off x="4112869" y="2876018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CAA1D5-030C-479B-B255-F0492DE632EA}"/>
              </a:ext>
            </a:extLst>
          </p:cNvPr>
          <p:cNvSpPr txBox="1"/>
          <p:nvPr/>
        </p:nvSpPr>
        <p:spPr>
          <a:xfrm>
            <a:off x="602203" y="4211191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0601989" y="43607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ight Brace 32">
            <a:extLst>
              <a:ext uri="{FF2B5EF4-FFF2-40B4-BE49-F238E27FC236}">
                <a16:creationId xmlns:a16="http://schemas.microsoft.com/office/drawing/2014/main" id="{25848427-ED8E-034B-7457-EB5B03E6A268}"/>
              </a:ext>
            </a:extLst>
          </p:cNvPr>
          <p:cNvSpPr/>
          <p:nvPr/>
        </p:nvSpPr>
        <p:spPr>
          <a:xfrm rot="5400000">
            <a:off x="10795487" y="1747039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ADC0F2FC-33A0-70B4-F5C7-B5A53387F33F}"/>
              </a:ext>
            </a:extLst>
          </p:cNvPr>
          <p:cNvSpPr txBox="1"/>
          <p:nvPr/>
        </p:nvSpPr>
        <p:spPr>
          <a:xfrm>
            <a:off x="10309966" y="289779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300660" y="5585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33393921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896450" y="1757695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433209" y="425300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974081" y="296396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104524" y="5585258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098297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8"/>
            <a:chOff x="-844126" y="2629634"/>
            <a:chExt cx="2760774" cy="5489238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5441116"/>
              <a:ext cx="2025342" cy="2677756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4025311-1FB3-0F4B-90F1-A8682116F572}"/>
              </a:ext>
            </a:extLst>
          </p:cNvPr>
          <p:cNvCxnSpPr>
            <a:cxnSpLocks/>
          </p:cNvCxnSpPr>
          <p:nvPr/>
        </p:nvCxnSpPr>
        <p:spPr>
          <a:xfrm flipH="1" flipV="1">
            <a:off x="1814525" y="2890262"/>
            <a:ext cx="204709" cy="1176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/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/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/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/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/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/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/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1" name="Gerade Verbindung mit Pfeil 300">
            <a:extLst>
              <a:ext uri="{FF2B5EF4-FFF2-40B4-BE49-F238E27FC236}">
                <a16:creationId xmlns:a16="http://schemas.microsoft.com/office/drawing/2014/main" id="{0910E613-5F30-6449-FC1C-C0F15E5780F4}"/>
              </a:ext>
            </a:extLst>
          </p:cNvPr>
          <p:cNvCxnSpPr>
            <a:cxnSpLocks/>
          </p:cNvCxnSpPr>
          <p:nvPr/>
        </p:nvCxnSpPr>
        <p:spPr>
          <a:xfrm flipV="1">
            <a:off x="7531094" y="3890966"/>
            <a:ext cx="824731" cy="68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40FA2C53-F153-677D-AFD2-C75E4C5F0BEC}"/>
              </a:ext>
            </a:extLst>
          </p:cNvPr>
          <p:cNvCxnSpPr>
            <a:cxnSpLocks/>
          </p:cNvCxnSpPr>
          <p:nvPr/>
        </p:nvCxnSpPr>
        <p:spPr>
          <a:xfrm flipV="1">
            <a:off x="3702037" y="2890262"/>
            <a:ext cx="1496946" cy="11988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/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/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/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/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/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9397421E-45F0-3E5E-5F30-F4CF49AA2D02}"/>
              </a:ext>
            </a:extLst>
          </p:cNvPr>
          <p:cNvCxnSpPr>
            <a:cxnSpLocks/>
            <a:stCxn id="295" idx="2"/>
          </p:cNvCxnSpPr>
          <p:nvPr/>
        </p:nvCxnSpPr>
        <p:spPr>
          <a:xfrm>
            <a:off x="5315768" y="2864080"/>
            <a:ext cx="1692652" cy="975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/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/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/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blipFill>
                <a:blip r:embed="rId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/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DF8B2A26-A313-3AF0-ECBC-A7BBCA06F522}"/>
              </a:ext>
            </a:extLst>
          </p:cNvPr>
          <p:cNvCxnSpPr>
            <a:cxnSpLocks/>
          </p:cNvCxnSpPr>
          <p:nvPr/>
        </p:nvCxnSpPr>
        <p:spPr>
          <a:xfrm flipH="1" flipV="1">
            <a:off x="1524864" y="5813815"/>
            <a:ext cx="475547" cy="4685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/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/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2F68E38F-488A-C670-EFFA-81E0E3640469}"/>
              </a:ext>
            </a:extLst>
          </p:cNvPr>
          <p:cNvCxnSpPr>
            <a:cxnSpLocks/>
          </p:cNvCxnSpPr>
          <p:nvPr/>
        </p:nvCxnSpPr>
        <p:spPr>
          <a:xfrm flipH="1">
            <a:off x="2070200" y="4799301"/>
            <a:ext cx="501035" cy="32069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4758DF16-53E1-953E-ECF3-F7ACB8E07023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2136680" y="4286981"/>
            <a:ext cx="460977" cy="31736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/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/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/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/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BD0ACCD0-6404-0DDE-8665-30D3DDED0DDD}"/>
              </a:ext>
            </a:extLst>
          </p:cNvPr>
          <p:cNvCxnSpPr>
            <a:cxnSpLocks/>
          </p:cNvCxnSpPr>
          <p:nvPr/>
        </p:nvCxnSpPr>
        <p:spPr>
          <a:xfrm flipV="1">
            <a:off x="7285029" y="4040801"/>
            <a:ext cx="1107787" cy="50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1277EC27-B4A7-B056-046C-1D446F48E152}"/>
              </a:ext>
            </a:extLst>
          </p:cNvPr>
          <p:cNvCxnSpPr>
            <a:cxnSpLocks/>
          </p:cNvCxnSpPr>
          <p:nvPr/>
        </p:nvCxnSpPr>
        <p:spPr>
          <a:xfrm>
            <a:off x="3647087" y="4339241"/>
            <a:ext cx="390756" cy="39234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22FB3156-541D-3F3B-F9D8-AC8BBA701784}"/>
              </a:ext>
            </a:extLst>
          </p:cNvPr>
          <p:cNvCxnSpPr>
            <a:cxnSpLocks/>
            <a:stCxn id="157" idx="0"/>
            <a:endCxn id="156" idx="2"/>
          </p:cNvCxnSpPr>
          <p:nvPr/>
        </p:nvCxnSpPr>
        <p:spPr>
          <a:xfrm flipV="1">
            <a:off x="3786835" y="4902308"/>
            <a:ext cx="385536" cy="2437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6B023EF-3015-C66A-D311-16A8309552FD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flipV="1">
            <a:off x="4389918" y="5923728"/>
            <a:ext cx="423067" cy="31829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/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/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3F5FA739-CD66-8EEF-CA41-8B781958FC1A}"/>
              </a:ext>
            </a:extLst>
          </p:cNvPr>
          <p:cNvCxnSpPr>
            <a:cxnSpLocks/>
            <a:endCxn id="171" idx="2"/>
          </p:cNvCxnSpPr>
          <p:nvPr/>
        </p:nvCxnSpPr>
        <p:spPr>
          <a:xfrm flipV="1">
            <a:off x="4327169" y="3698161"/>
            <a:ext cx="555856" cy="9911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6DA958CE-7EA8-A033-33F4-B5E565BB17E7}"/>
              </a:ext>
            </a:extLst>
          </p:cNvPr>
          <p:cNvCxnSpPr>
            <a:cxnSpLocks/>
          </p:cNvCxnSpPr>
          <p:nvPr/>
        </p:nvCxnSpPr>
        <p:spPr>
          <a:xfrm flipV="1">
            <a:off x="4607192" y="6156542"/>
            <a:ext cx="3263255" cy="18204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98B80D-28A4-84CA-E313-D0EF5320C99B}"/>
              </a:ext>
            </a:extLst>
          </p:cNvPr>
          <p:cNvCxnSpPr>
            <a:cxnSpLocks/>
          </p:cNvCxnSpPr>
          <p:nvPr/>
        </p:nvCxnSpPr>
        <p:spPr>
          <a:xfrm flipV="1">
            <a:off x="4382050" y="4702514"/>
            <a:ext cx="2205812" cy="106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E22F307B-855B-890A-2E72-04953A1B15FE}"/>
              </a:ext>
            </a:extLst>
          </p:cNvPr>
          <p:cNvCxnSpPr>
            <a:cxnSpLocks/>
          </p:cNvCxnSpPr>
          <p:nvPr/>
        </p:nvCxnSpPr>
        <p:spPr>
          <a:xfrm>
            <a:off x="5164128" y="3618272"/>
            <a:ext cx="1453150" cy="936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Verbinder: gewinkelt 184">
            <a:extLst>
              <a:ext uri="{FF2B5EF4-FFF2-40B4-BE49-F238E27FC236}">
                <a16:creationId xmlns:a16="http://schemas.microsoft.com/office/drawing/2014/main" id="{A9DFE151-67B3-A471-44EA-D1DD8CCB1D1B}"/>
              </a:ext>
            </a:extLst>
          </p:cNvPr>
          <p:cNvCxnSpPr>
            <a:stCxn id="159" idx="2"/>
          </p:cNvCxnSpPr>
          <p:nvPr/>
        </p:nvCxnSpPr>
        <p:spPr>
          <a:xfrm rot="5400000" flipH="1" flipV="1">
            <a:off x="6178492" y="3146754"/>
            <a:ext cx="1569202" cy="5146350"/>
          </a:xfrm>
          <a:prstGeom prst="bentConnector4">
            <a:avLst>
              <a:gd name="adj1" fmla="val -14568"/>
              <a:gd name="adj2" fmla="val 1085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Verbinder: gewinkelt 185">
            <a:extLst>
              <a:ext uri="{FF2B5EF4-FFF2-40B4-BE49-F238E27FC236}">
                <a16:creationId xmlns:a16="http://schemas.microsoft.com/office/drawing/2014/main" id="{9856BD7B-1408-D0A8-7AD2-DC01A823EA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64462" y="5240672"/>
            <a:ext cx="958129" cy="784828"/>
          </a:xfrm>
          <a:prstGeom prst="bentConnector3">
            <a:avLst>
              <a:gd name="adj1" fmla="val 33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/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/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61F0D818-CBFA-8703-D6E5-B7DE4FB2F23C}"/>
              </a:ext>
            </a:extLst>
          </p:cNvPr>
          <p:cNvCxnSpPr>
            <a:cxnSpLocks/>
          </p:cNvCxnSpPr>
          <p:nvPr/>
        </p:nvCxnSpPr>
        <p:spPr>
          <a:xfrm flipV="1">
            <a:off x="3670790" y="3985957"/>
            <a:ext cx="3305980" cy="229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/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/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/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/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/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/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/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/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blipFill>
                <a:blip r:embed="rId9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/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/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/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/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/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/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5" name="Gerade Verbindung mit Pfeil 234">
            <a:extLst>
              <a:ext uri="{FF2B5EF4-FFF2-40B4-BE49-F238E27FC236}">
                <a16:creationId xmlns:a16="http://schemas.microsoft.com/office/drawing/2014/main" id="{8BE64410-8783-A67D-5C46-D9372435290B}"/>
              </a:ext>
            </a:extLst>
          </p:cNvPr>
          <p:cNvCxnSpPr>
            <a:cxnSpLocks/>
          </p:cNvCxnSpPr>
          <p:nvPr/>
        </p:nvCxnSpPr>
        <p:spPr>
          <a:xfrm flipH="1" flipV="1">
            <a:off x="2256586" y="4149361"/>
            <a:ext cx="1041459" cy="5620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07779FE7-F6E5-C810-1881-EDFDE60399BF}"/>
              </a:ext>
            </a:extLst>
          </p:cNvPr>
          <p:cNvCxnSpPr>
            <a:cxnSpLocks/>
          </p:cNvCxnSpPr>
          <p:nvPr/>
        </p:nvCxnSpPr>
        <p:spPr>
          <a:xfrm flipH="1" flipV="1">
            <a:off x="2872365" y="4722670"/>
            <a:ext cx="1115626" cy="6375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7D3DE1B7-5930-ED9F-EDA7-3E36DA609E27}"/>
              </a:ext>
            </a:extLst>
          </p:cNvPr>
          <p:cNvCxnSpPr>
            <a:cxnSpLocks/>
          </p:cNvCxnSpPr>
          <p:nvPr/>
        </p:nvCxnSpPr>
        <p:spPr>
          <a:xfrm flipH="1">
            <a:off x="2174386" y="6330040"/>
            <a:ext cx="2044679" cy="4197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/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/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/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blipFill>
                <a:blip r:embed="rId10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060699E2-7121-89C3-B7E9-93E73F8ADB57}"/>
              </a:ext>
            </a:extLst>
          </p:cNvPr>
          <p:cNvCxnSpPr>
            <a:cxnSpLocks/>
          </p:cNvCxnSpPr>
          <p:nvPr/>
        </p:nvCxnSpPr>
        <p:spPr>
          <a:xfrm flipH="1" flipV="1">
            <a:off x="659373" y="6307031"/>
            <a:ext cx="1185631" cy="439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Gerade Verbindung mit Pfeil 244">
            <a:extLst>
              <a:ext uri="{FF2B5EF4-FFF2-40B4-BE49-F238E27FC236}">
                <a16:creationId xmlns:a16="http://schemas.microsoft.com/office/drawing/2014/main" id="{1E353C91-6782-4755-D8A0-F8A786307A1B}"/>
              </a:ext>
            </a:extLst>
          </p:cNvPr>
          <p:cNvCxnSpPr>
            <a:cxnSpLocks/>
            <a:stCxn id="144" idx="1"/>
          </p:cNvCxnSpPr>
          <p:nvPr/>
        </p:nvCxnSpPr>
        <p:spPr>
          <a:xfrm flipH="1">
            <a:off x="637589" y="4728600"/>
            <a:ext cx="1798198" cy="31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C6C4018-5E3B-B5DA-96DD-82EE1A8B3AEA}"/>
              </a:ext>
            </a:extLst>
          </p:cNvPr>
          <p:cNvCxnSpPr>
            <a:cxnSpLocks/>
          </p:cNvCxnSpPr>
          <p:nvPr/>
        </p:nvCxnSpPr>
        <p:spPr>
          <a:xfrm flipH="1">
            <a:off x="660943" y="4174106"/>
            <a:ext cx="1315507" cy="1722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B687AFAC-7287-2030-E3F7-E6012BED12AB}"/>
              </a:ext>
            </a:extLst>
          </p:cNvPr>
          <p:cNvCxnSpPr>
            <a:cxnSpLocks/>
          </p:cNvCxnSpPr>
          <p:nvPr/>
        </p:nvCxnSpPr>
        <p:spPr>
          <a:xfrm flipH="1" flipV="1">
            <a:off x="2033747" y="2822716"/>
            <a:ext cx="756785" cy="175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/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2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/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blipFill>
                <a:blip r:embed="rId103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/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blipFill>
                <a:blip r:embed="rId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/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blipFill>
                <a:blip r:embed="rId10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/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blipFill>
                <a:blip r:embed="rId10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/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blipFill>
                <a:blip r:embed="rId10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/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/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/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/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/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/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/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/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94DB081B-47A1-D7B3-6100-FC66AE0808F4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471E3ADE-76F9-4FF1-47AB-7B3D5B3C527F}"/>
              </a:ext>
            </a:extLst>
          </p:cNvPr>
          <p:cNvCxnSpPr>
            <a:cxnSpLocks/>
          </p:cNvCxnSpPr>
          <p:nvPr/>
        </p:nvCxnSpPr>
        <p:spPr>
          <a:xfrm rot="10800000">
            <a:off x="2015610" y="6610574"/>
            <a:ext cx="611581" cy="1725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54FFA14-640C-3AF8-FB73-B7A28CB91B8F}"/>
              </a:ext>
            </a:extLst>
          </p:cNvPr>
          <p:cNvCxnSpPr>
            <a:cxnSpLocks/>
            <a:endCxn id="142" idx="0"/>
          </p:cNvCxnSpPr>
          <p:nvPr/>
        </p:nvCxnSpPr>
        <p:spPr>
          <a:xfrm flipH="1">
            <a:off x="1391386" y="2873673"/>
            <a:ext cx="172335" cy="267353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A7D61AF-8F0B-D993-BE23-46A8AC4723B0}"/>
              </a:ext>
            </a:extLst>
          </p:cNvPr>
          <p:cNvCxnSpPr>
            <a:cxnSpLocks/>
          </p:cNvCxnSpPr>
          <p:nvPr/>
        </p:nvCxnSpPr>
        <p:spPr>
          <a:xfrm flipH="1">
            <a:off x="3786835" y="2829033"/>
            <a:ext cx="33796" cy="23170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414086C-06A6-7792-42D0-78F53C1684E3}"/>
              </a:ext>
            </a:extLst>
          </p:cNvPr>
          <p:cNvCxnSpPr>
            <a:cxnSpLocks/>
          </p:cNvCxnSpPr>
          <p:nvPr/>
        </p:nvCxnSpPr>
        <p:spPr>
          <a:xfrm>
            <a:off x="1668956" y="2873672"/>
            <a:ext cx="223381" cy="2219112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3BDC17C-3CEA-F3E8-CA05-9CDEDC5B8E6E}"/>
              </a:ext>
            </a:extLst>
          </p:cNvPr>
          <p:cNvCxnSpPr>
            <a:cxnSpLocks/>
          </p:cNvCxnSpPr>
          <p:nvPr/>
        </p:nvCxnSpPr>
        <p:spPr>
          <a:xfrm>
            <a:off x="3941685" y="2851748"/>
            <a:ext cx="871300" cy="282588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68B5A87-691A-0567-EA12-E62BC5D630A6}"/>
              </a:ext>
            </a:extLst>
          </p:cNvPr>
          <p:cNvCxnSpPr>
            <a:cxnSpLocks/>
          </p:cNvCxnSpPr>
          <p:nvPr/>
        </p:nvCxnSpPr>
        <p:spPr>
          <a:xfrm>
            <a:off x="4003617" y="2971513"/>
            <a:ext cx="1245327" cy="195841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A2A3295-8512-0E50-89B6-933667F0B120}"/>
              </a:ext>
            </a:extLst>
          </p:cNvPr>
          <p:cNvCxnSpPr>
            <a:cxnSpLocks/>
          </p:cNvCxnSpPr>
          <p:nvPr/>
        </p:nvCxnSpPr>
        <p:spPr>
          <a:xfrm>
            <a:off x="4016348" y="2843178"/>
            <a:ext cx="2311234" cy="286772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771CD59-E948-6972-6853-0C67889F23A1}"/>
              </a:ext>
            </a:extLst>
          </p:cNvPr>
          <p:cNvCxnSpPr>
            <a:cxnSpLocks/>
          </p:cNvCxnSpPr>
          <p:nvPr/>
        </p:nvCxnSpPr>
        <p:spPr>
          <a:xfrm>
            <a:off x="567170" y="2994482"/>
            <a:ext cx="9376" cy="216985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2FEB0C2-67CF-72E2-E53B-6017FA5EC1F2}"/>
              </a:ext>
            </a:extLst>
          </p:cNvPr>
          <p:cNvCxnSpPr>
            <a:cxnSpLocks/>
          </p:cNvCxnSpPr>
          <p:nvPr/>
        </p:nvCxnSpPr>
        <p:spPr>
          <a:xfrm>
            <a:off x="253685" y="2966289"/>
            <a:ext cx="79829" cy="2843845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358924E-F5CE-3C3F-8AF1-1D54440A56B2}"/>
              </a:ext>
            </a:extLst>
          </p:cNvPr>
          <p:cNvCxnSpPr>
            <a:cxnSpLocks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/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blipFill>
                <a:blip r:embed="rId117"/>
                <a:stretch>
                  <a:fillRect r="-6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03B652D-289C-1A79-0207-41245EC2C1D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454FBB9-B53A-A3F8-C506-35355AD4FD57}"/>
              </a:ext>
            </a:extLst>
          </p:cNvPr>
          <p:cNvCxnSpPr>
            <a:cxnSpLocks/>
            <a:endCxn id="144" idx="0"/>
          </p:cNvCxnSpPr>
          <p:nvPr/>
        </p:nvCxnSpPr>
        <p:spPr>
          <a:xfrm>
            <a:off x="1998876" y="2851748"/>
            <a:ext cx="723536" cy="17435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EADEF2C-6B51-23E0-FEFB-802AE7895694}"/>
              </a:ext>
            </a:extLst>
          </p:cNvPr>
          <p:cNvCxnSpPr>
            <a:cxnSpLocks/>
            <a:endCxn id="156" idx="0"/>
          </p:cNvCxnSpPr>
          <p:nvPr/>
        </p:nvCxnSpPr>
        <p:spPr>
          <a:xfrm>
            <a:off x="3883165" y="2936466"/>
            <a:ext cx="289206" cy="17197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6ECD99E-3C1B-85AC-3E63-AF7C93B39394}"/>
              </a:ext>
            </a:extLst>
          </p:cNvPr>
          <p:cNvCxnSpPr>
            <a:cxnSpLocks/>
          </p:cNvCxnSpPr>
          <p:nvPr/>
        </p:nvCxnSpPr>
        <p:spPr>
          <a:xfrm>
            <a:off x="4073533" y="2799415"/>
            <a:ext cx="659306" cy="6504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/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/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B96CB68-FE92-6F66-93C6-CF42471F7A58}"/>
              </a:ext>
            </a:extLst>
          </p:cNvPr>
          <p:cNvCxnSpPr>
            <a:cxnSpLocks/>
            <a:stCxn id="146" idx="2"/>
            <a:endCxn id="147" idx="0"/>
          </p:cNvCxnSpPr>
          <p:nvPr/>
        </p:nvCxnSpPr>
        <p:spPr>
          <a:xfrm flipH="1">
            <a:off x="474274" y="4871684"/>
            <a:ext cx="7249" cy="2961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F433150-C64C-4024-C7CC-295C74BF07C1}"/>
              </a:ext>
            </a:extLst>
          </p:cNvPr>
          <p:cNvCxnSpPr>
            <a:cxnSpLocks/>
            <a:stCxn id="138" idx="2"/>
          </p:cNvCxnSpPr>
          <p:nvPr/>
        </p:nvCxnSpPr>
        <p:spPr>
          <a:xfrm flipH="1">
            <a:off x="452329" y="4311561"/>
            <a:ext cx="37479" cy="3212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C39D7E05-9D75-4A3F-5775-1FDDF147520F}"/>
              </a:ext>
            </a:extLst>
          </p:cNvPr>
          <p:cNvCxnSpPr>
            <a:cxnSpLocks/>
          </p:cNvCxnSpPr>
          <p:nvPr/>
        </p:nvCxnSpPr>
        <p:spPr>
          <a:xfrm flipH="1">
            <a:off x="484618" y="5956642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/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/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/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/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/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/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blipFill>
                <a:blip r:embed="rId12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E5B402DE-450C-19F6-CF3E-1570AAE14598}"/>
              </a:ext>
            </a:extLst>
          </p:cNvPr>
          <p:cNvCxnSpPr>
            <a:cxnSpLocks/>
            <a:stCxn id="195" idx="0"/>
          </p:cNvCxnSpPr>
          <p:nvPr/>
        </p:nvCxnSpPr>
        <p:spPr>
          <a:xfrm>
            <a:off x="6736015" y="5892698"/>
            <a:ext cx="1173115" cy="19236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/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/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37E36B9-84F3-DE4C-F0B4-AD524BCE35CE}"/>
              </a:ext>
            </a:extLst>
          </p:cNvPr>
          <p:cNvCxnSpPr>
            <a:cxnSpLocks/>
            <a:endCxn id="172" idx="0"/>
          </p:cNvCxnSpPr>
          <p:nvPr/>
        </p:nvCxnSpPr>
        <p:spPr>
          <a:xfrm>
            <a:off x="4957520" y="3709951"/>
            <a:ext cx="443820" cy="117767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/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/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EA03295-39A7-A642-785F-13EFE03506E3}"/>
              </a:ext>
            </a:extLst>
          </p:cNvPr>
          <p:cNvCxnSpPr>
            <a:cxnSpLocks/>
            <a:endCxn id="295" idx="2"/>
          </p:cNvCxnSpPr>
          <p:nvPr/>
        </p:nvCxnSpPr>
        <p:spPr>
          <a:xfrm flipV="1">
            <a:off x="5009681" y="2864080"/>
            <a:ext cx="306087" cy="6756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/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/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F32A259C-4D82-D172-EDE8-3A2D32A16E8C}"/>
              </a:ext>
            </a:extLst>
          </p:cNvPr>
          <p:cNvCxnSpPr>
            <a:cxnSpLocks/>
          </p:cNvCxnSpPr>
          <p:nvPr/>
        </p:nvCxnSpPr>
        <p:spPr>
          <a:xfrm>
            <a:off x="300906" y="3154565"/>
            <a:ext cx="75438" cy="14863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BCE49599-D84D-F069-21EB-D699AC481BC0}"/>
              </a:ext>
            </a:extLst>
          </p:cNvPr>
          <p:cNvCxnSpPr>
            <a:stCxn id="138" idx="0"/>
          </p:cNvCxnSpPr>
          <p:nvPr/>
        </p:nvCxnSpPr>
        <p:spPr>
          <a:xfrm flipV="1">
            <a:off x="489808" y="2994482"/>
            <a:ext cx="9908" cy="1050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453F5FCE-D4D5-BE28-53A7-8566E616B567}"/>
              </a:ext>
            </a:extLst>
          </p:cNvPr>
          <p:cNvCxnSpPr>
            <a:stCxn id="145" idx="0"/>
          </p:cNvCxnSpPr>
          <p:nvPr/>
        </p:nvCxnSpPr>
        <p:spPr>
          <a:xfrm flipH="1" flipV="1">
            <a:off x="1894999" y="2873672"/>
            <a:ext cx="241681" cy="114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E1789896-DBAB-0889-6DAA-3C7484517B6E}"/>
              </a:ext>
            </a:extLst>
          </p:cNvPr>
          <p:cNvCxnSpPr>
            <a:cxnSpLocks/>
          </p:cNvCxnSpPr>
          <p:nvPr/>
        </p:nvCxnSpPr>
        <p:spPr>
          <a:xfrm>
            <a:off x="187649" y="2994482"/>
            <a:ext cx="113257" cy="3247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 Verbindung mit Pfeil 362">
            <a:extLst>
              <a:ext uri="{FF2B5EF4-FFF2-40B4-BE49-F238E27FC236}">
                <a16:creationId xmlns:a16="http://schemas.microsoft.com/office/drawing/2014/main" id="{938E867C-3EB0-027F-9CEB-8DD2CA4E8E6B}"/>
              </a:ext>
            </a:extLst>
          </p:cNvPr>
          <p:cNvCxnSpPr>
            <a:cxnSpLocks/>
            <a:stCxn id="137" idx="2"/>
          </p:cNvCxnSpPr>
          <p:nvPr/>
        </p:nvCxnSpPr>
        <p:spPr>
          <a:xfrm>
            <a:off x="1788156" y="2873673"/>
            <a:ext cx="348524" cy="34333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C427B3E-4F3F-9651-0A50-912E3C1D4138}"/>
              </a:ext>
            </a:extLst>
          </p:cNvPr>
          <p:cNvCxnSpPr>
            <a:cxnSpLocks/>
          </p:cNvCxnSpPr>
          <p:nvPr/>
        </p:nvCxnSpPr>
        <p:spPr>
          <a:xfrm flipH="1" flipV="1">
            <a:off x="4071764" y="2733143"/>
            <a:ext cx="977025" cy="3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Gerade Verbindung mit Pfeil 370">
            <a:extLst>
              <a:ext uri="{FF2B5EF4-FFF2-40B4-BE49-F238E27FC236}">
                <a16:creationId xmlns:a16="http://schemas.microsoft.com/office/drawing/2014/main" id="{0E320399-0D68-6C84-97DB-826959568C15}"/>
              </a:ext>
            </a:extLst>
          </p:cNvPr>
          <p:cNvCxnSpPr>
            <a:cxnSpLocks/>
            <a:stCxn id="292" idx="0"/>
          </p:cNvCxnSpPr>
          <p:nvPr/>
        </p:nvCxnSpPr>
        <p:spPr>
          <a:xfrm flipV="1">
            <a:off x="3478523" y="2829033"/>
            <a:ext cx="223514" cy="1253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Verbinder: gewinkelt 374">
            <a:extLst>
              <a:ext uri="{FF2B5EF4-FFF2-40B4-BE49-F238E27FC236}">
                <a16:creationId xmlns:a16="http://schemas.microsoft.com/office/drawing/2014/main" id="{5F422456-8B0A-C4F6-A195-091E15725E88}"/>
              </a:ext>
            </a:extLst>
          </p:cNvPr>
          <p:cNvCxnSpPr/>
          <p:nvPr/>
        </p:nvCxnSpPr>
        <p:spPr>
          <a:xfrm rot="16200000" flipH="1">
            <a:off x="2142685" y="4299343"/>
            <a:ext cx="3477281" cy="582090"/>
          </a:xfrm>
          <a:prstGeom prst="bentConnector3">
            <a:avLst>
              <a:gd name="adj1" fmla="val 8567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/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3" name="Verbinder: gewinkelt 382">
            <a:extLst>
              <a:ext uri="{FF2B5EF4-FFF2-40B4-BE49-F238E27FC236}">
                <a16:creationId xmlns:a16="http://schemas.microsoft.com/office/drawing/2014/main" id="{78AA01F3-9F21-F8AD-233A-A09F6EB0F7D0}"/>
              </a:ext>
            </a:extLst>
          </p:cNvPr>
          <p:cNvCxnSpPr>
            <a:cxnSpLocks/>
            <a:endCxn id="174" idx="0"/>
          </p:cNvCxnSpPr>
          <p:nvPr/>
        </p:nvCxnSpPr>
        <p:spPr>
          <a:xfrm>
            <a:off x="4076933" y="2673799"/>
            <a:ext cx="4096464" cy="33092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/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19FECB0-76C4-0631-8B07-2FEE45883FCA}"/>
              </a:ext>
            </a:extLst>
          </p:cNvPr>
          <p:cNvCxnSpPr>
            <a:cxnSpLocks/>
            <a:stCxn id="135" idx="0"/>
          </p:cNvCxnSpPr>
          <p:nvPr/>
        </p:nvCxnSpPr>
        <p:spPr>
          <a:xfrm flipH="1" flipV="1">
            <a:off x="1605712" y="2966289"/>
            <a:ext cx="398028" cy="32757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F451400-E167-5521-AC5B-4197A7342C98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168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/>
      <p:bldP spid="342" grpId="0"/>
      <p:bldP spid="135" grpId="0"/>
      <p:bldP spid="138" grpId="0"/>
      <p:bldP spid="292" grpId="0"/>
      <p:bldP spid="295" grpId="0"/>
      <p:bldP spid="296" grpId="0"/>
      <p:bldP spid="299" grpId="0"/>
      <p:bldP spid="307" grpId="0"/>
      <p:bldP spid="310" grpId="0"/>
      <p:bldP spid="311" grpId="0"/>
      <p:bldP spid="312" grpId="0"/>
      <p:bldP spid="313" grpId="0"/>
      <p:bldP spid="319" grpId="0"/>
      <p:bldP spid="143" grpId="0"/>
      <p:bldP spid="144" grpId="0"/>
      <p:bldP spid="145" grpId="0"/>
      <p:bldP spid="146" grpId="0"/>
      <p:bldP spid="147" grpId="0"/>
      <p:bldP spid="149" grpId="0"/>
      <p:bldP spid="151" grpId="0"/>
      <p:bldP spid="152" grpId="0"/>
      <p:bldP spid="156" grpId="0"/>
      <p:bldP spid="157" grpId="0"/>
      <p:bldP spid="159" grpId="0"/>
      <p:bldP spid="160" grpId="0"/>
      <p:bldP spid="161" grpId="0"/>
      <p:bldP spid="163" grpId="0"/>
      <p:bldP spid="171" grpId="0"/>
      <p:bldP spid="172" grpId="0"/>
      <p:bldP spid="174" grpId="0"/>
      <p:bldP spid="193" grpId="0"/>
      <p:bldP spid="194" grpId="0"/>
      <p:bldP spid="196" grpId="0"/>
      <p:bldP spid="211" grpId="0"/>
      <p:bldP spid="212" grpId="0"/>
      <p:bldP spid="214" grpId="0"/>
      <p:bldP spid="215" grpId="0"/>
      <p:bldP spid="216" grpId="0"/>
      <p:bldP spid="218" grpId="0"/>
      <p:bldP spid="219" grpId="0"/>
      <p:bldP spid="220" grpId="0"/>
      <p:bldP spid="221" grpId="0"/>
      <p:bldP spid="223" grpId="0"/>
      <p:bldP spid="224" grpId="0"/>
      <p:bldP spid="226" grpId="0"/>
      <p:bldP spid="227" grpId="0"/>
      <p:bldP spid="228" grpId="0"/>
      <p:bldP spid="229" grpId="0"/>
      <p:bldP spid="230" grpId="0"/>
      <p:bldP spid="231" grpId="0"/>
      <p:bldP spid="232" grpId="0"/>
      <p:bldP spid="233" grpId="0"/>
      <p:bldP spid="234" grpId="0"/>
      <p:bldP spid="240" grpId="0"/>
      <p:bldP spid="241" grpId="0"/>
      <p:bldP spid="242" grpId="0"/>
      <p:bldP spid="253" grpId="0"/>
      <p:bldP spid="255" grpId="0"/>
      <p:bldP spid="259" grpId="0"/>
      <p:bldP spid="260" grpId="0"/>
      <p:bldP spid="265" grpId="0"/>
      <p:bldP spid="266" grpId="0"/>
      <p:bldP spid="267" grpId="0"/>
      <p:bldP spid="269" grpId="0"/>
      <p:bldP spid="270" grpId="0"/>
      <p:bldP spid="271" grpId="0"/>
      <p:bldP spid="272" grpId="0"/>
      <p:bldP spid="273" grpId="0"/>
      <p:bldP spid="274" grpId="0"/>
      <p:bldP spid="275" grpId="0"/>
      <p:bldP spid="276" grpId="0"/>
      <p:bldP spid="277" grpId="0"/>
      <p:bldP spid="279" grpId="0"/>
      <p:bldP spid="280" grpId="0"/>
      <p:bldP spid="35" grpId="0"/>
      <p:bldP spid="36" grpId="0"/>
      <p:bldP spid="38" grpId="0"/>
      <p:bldP spid="39" grpId="0"/>
      <p:bldP spid="67" grpId="0"/>
      <p:bldP spid="69" grpId="0"/>
      <p:bldP spid="83" grpId="0"/>
      <p:bldP spid="84" grpId="0"/>
      <p:bldP spid="85" grpId="0"/>
      <p:bldP spid="86" grpId="0"/>
      <p:bldP spid="87" grpId="0"/>
      <p:bldP spid="88" grpId="0"/>
      <p:bldP spid="95" grpId="0"/>
      <p:bldP spid="96" grpId="0"/>
      <p:bldP spid="104" grpId="0"/>
      <p:bldP spid="105" grpId="0"/>
      <p:bldP spid="109" grpId="0"/>
      <p:bldP spid="110" grpId="0"/>
      <p:bldP spid="377" grpId="0"/>
      <p:bldP spid="386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5095816" y="1754923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8442494" y="480825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2955766" y="5920738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8984720" y="2649603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4657376" y="4532996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4761417" y="485508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939505" y="-1788046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5302289" y="3566046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7192889" y="4692987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6511232" y="5843745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25">
            <a:extLst>
              <a:ext uri="{FF2B5EF4-FFF2-40B4-BE49-F238E27FC236}">
                <a16:creationId xmlns:a16="http://schemas.microsoft.com/office/drawing/2014/main" id="{34A8EE8C-6D48-52C2-56CB-A974813CDE5E}"/>
              </a:ext>
            </a:extLst>
          </p:cNvPr>
          <p:cNvSpPr/>
          <p:nvPr/>
        </p:nvSpPr>
        <p:spPr>
          <a:xfrm rot="5400000">
            <a:off x="4607908" y="-925288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4">
            <a:extLst>
              <a:ext uri="{FF2B5EF4-FFF2-40B4-BE49-F238E27FC236}">
                <a16:creationId xmlns:a16="http://schemas.microsoft.com/office/drawing/2014/main" id="{DE41D24A-7C2D-0D48-2873-A22D8BD86A15}"/>
              </a:ext>
            </a:extLst>
          </p:cNvPr>
          <p:cNvSpPr txBox="1"/>
          <p:nvPr/>
        </p:nvSpPr>
        <p:spPr>
          <a:xfrm>
            <a:off x="3514986" y="3443009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6" name="Right Brace 28">
            <a:extLst>
              <a:ext uri="{FF2B5EF4-FFF2-40B4-BE49-F238E27FC236}">
                <a16:creationId xmlns:a16="http://schemas.microsoft.com/office/drawing/2014/main" id="{4C40A336-BB56-174D-91E7-FE11799327CA}"/>
              </a:ext>
            </a:extLst>
          </p:cNvPr>
          <p:cNvSpPr/>
          <p:nvPr/>
        </p:nvSpPr>
        <p:spPr>
          <a:xfrm rot="5400000">
            <a:off x="2542498" y="3323302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5">
            <a:extLst>
              <a:ext uri="{FF2B5EF4-FFF2-40B4-BE49-F238E27FC236}">
                <a16:creationId xmlns:a16="http://schemas.microsoft.com/office/drawing/2014/main" id="{040E1538-536B-64C6-B7A7-77F6CDC7E706}"/>
              </a:ext>
            </a:extLst>
          </p:cNvPr>
          <p:cNvSpPr txBox="1"/>
          <p:nvPr/>
        </p:nvSpPr>
        <p:spPr>
          <a:xfrm>
            <a:off x="1198974" y="4815455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36270026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35725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drug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80932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0768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Metabolite2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758530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/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𝑂𝐺𝐼</m:t>
                      </m:r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8204BEF-FA2A-4592-9924-4C831904454C}"/>
              </a:ext>
            </a:extLst>
          </p:cNvPr>
          <p:cNvSpPr txBox="1"/>
          <p:nvPr/>
        </p:nvSpPr>
        <p:spPr>
          <a:xfrm>
            <a:off x="8544806" y="1325661"/>
            <a:ext cx="251344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Logistic (Thomas Rysiok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/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𝑂𝐺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/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𝐶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2">
            <a:extLst>
              <a:ext uri="{FF2B5EF4-FFF2-40B4-BE49-F238E27FC236}">
                <a16:creationId xmlns:a16="http://schemas.microsoft.com/office/drawing/2014/main" id="{2051BC18-7472-94D3-30EA-E2521F5B3FB3}"/>
              </a:ext>
            </a:extLst>
          </p:cNvPr>
          <p:cNvSpPr txBox="1"/>
          <p:nvPr/>
        </p:nvSpPr>
        <p:spPr>
          <a:xfrm>
            <a:off x="301877" y="175309"/>
            <a:ext cx="154202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umor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/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𝑟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 sz="200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d>
                                <m:d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−</m:t>
                                  </m:r>
                                  <m:f>
                                    <m:fPr>
                                      <m:ctrlP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𝑝𝑟𝑜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𝑚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den>
                                  </m:f>
                                </m:e>
                              </m:d>
                            </m:num>
                            <m:den>
                              <m:sSup>
                                <m:sSup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sSup>
                                        <m:sSupPr>
                                          <m:ctrlP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fi-FI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func>
                                                    <m:func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funcPr>
                                                    <m:fNam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ln</m:t>
                                                      </m:r>
                                                    </m:fName>
                                                    <m:e>
                                                      <m:d>
                                                        <m:dPr>
                                                          <m:ctrlPr>
                                                            <a:rPr lang="fi-FI" sz="2000" i="1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dPr>
                                                        <m:e>
                                                          <m:r>
                                                            <a:rPr lang="fi-FI" sz="2000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  <m:t>2</m:t>
                                                          </m:r>
                                                        </m:e>
                                                      </m:d>
                                                    </m:e>
                                                  </m:func>
                                                </m:num>
                                                <m:den>
                                                  <m:sSup>
                                                    <m:sSup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pPr>
                                                    <m: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DT</m:t>
                                                      </m:r>
                                                    </m:e>
                                                    <m:sup>
                                                      <m:r>
                                                        <a:rPr lang="de-DE" sz="2000" b="0" i="1" smtClean="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𝑡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𝑢𝑚𝑜𝑟</m:t>
                                                      </m:r>
                                                    </m:sup>
                                                  </m:sSup>
                                                </m:den>
                                              </m:f>
                                              <m: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×</m:t>
                                              </m:r>
                                              <m:f>
                                                <m:fPr>
                                                  <m:ctrlPr>
                                                    <a:rPr lang="de-DE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sSubSup>
                                                    <m:sSubSup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Sup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𝑉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𝑝𝑟𝑜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,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𝑚𝑚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3</m:t>
                                                      </m:r>
                                                    </m:sub>
                                                    <m:sup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𝑡𝑢𝑚𝑜𝑟</m:t>
                                                      </m:r>
                                                    </m:sup>
                                                  </m:sSubSup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𝑙𝑖𝑛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l-GR" sz="2000" i="1">
                                              <a:latin typeface="Cambria Math" panose="02040503050406030204" pitchFamily="18" charset="0"/>
                                            </a:rPr>
                                            <m:t>ψ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f>
                                    <m:f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m:rPr>
                                          <m:sty m:val="p"/>
                                        </m:rPr>
                                        <a:rPr lang="el-GR" sz="2000" i="1">
                                          <a:latin typeface="Cambria Math" panose="02040503050406030204" pitchFamily="18" charset="0"/>
                                        </a:rPr>
                                        <m:t>ψ</m:t>
                                      </m:r>
                                    </m:den>
                                  </m:f>
                                </m:sup>
                              </m:sSup>
                            </m:den>
                          </m:f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i-FI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Kill</m:t>
                              </m:r>
                            </m:sub>
                          </m:sSub>
                        </m:e>
                      </m:d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/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blipFill>
                <a:blip r:embed="rId7"/>
                <a:stretch>
                  <a:fillRect b="-2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/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1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Kill</m:t>
                          </m:r>
                        </m:sub>
                      </m:sSub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/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2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/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3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1405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𝑎𝑥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47564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722013B4-E6FE-3EC3-26C5-C1B1B95B69A0}"/>
              </a:ext>
            </a:extLst>
          </p:cNvPr>
          <p:cNvSpPr/>
          <p:nvPr/>
        </p:nvSpPr>
        <p:spPr>
          <a:xfrm rot="5400000">
            <a:off x="2501963" y="314924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07C71AA1-F88D-44DC-D730-D129D6374673}"/>
              </a:ext>
            </a:extLst>
          </p:cNvPr>
          <p:cNvSpPr txBox="1"/>
          <p:nvPr/>
        </p:nvSpPr>
        <p:spPr>
          <a:xfrm>
            <a:off x="1371521" y="47138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ACC70037-82CE-C96C-699B-D72499C0134B}"/>
              </a:ext>
            </a:extLst>
          </p:cNvPr>
          <p:cNvSpPr/>
          <p:nvPr/>
        </p:nvSpPr>
        <p:spPr>
          <a:xfrm rot="5400000">
            <a:off x="5102487" y="35673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ACCDB7E-D288-D2A7-3AC7-A4EC83A1267A}"/>
              </a:ext>
            </a:extLst>
          </p:cNvPr>
          <p:cNvSpPr txBox="1"/>
          <p:nvPr/>
        </p:nvSpPr>
        <p:spPr>
          <a:xfrm>
            <a:off x="4168319" y="47189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773701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central compartment/plasma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172750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799437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845452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j Metabolites1 in central compartment/plasma, j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950586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76</Words>
  <Application>Microsoft Office PowerPoint</Application>
  <PresentationFormat>Breitbild</PresentationFormat>
  <Paragraphs>1173</Paragraphs>
  <Slides>53</Slides>
  <Notes>5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59" baseType="lpstr">
      <vt:lpstr>Arial</vt:lpstr>
      <vt:lpstr>Calibri</vt:lpstr>
      <vt:lpstr>Calibri Light</vt:lpstr>
      <vt:lpstr>Cambria Math</vt:lpstr>
      <vt:lpstr>Verdana</vt:lpstr>
      <vt:lpstr>Office Theme</vt:lpstr>
      <vt:lpstr>PROxAb Shuttle in-vivo </vt:lpstr>
      <vt:lpstr>PowerPoint-Präsentation</vt:lpstr>
      <vt:lpstr>Metaboli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s cell number equations explained</dc:title>
  <dc:creator>Tatu Lindroos</dc:creator>
  <cp:lastModifiedBy>Judith Stein</cp:lastModifiedBy>
  <cp:revision>296</cp:revision>
  <dcterms:created xsi:type="dcterms:W3CDTF">2020-06-25T13:54:39Z</dcterms:created>
  <dcterms:modified xsi:type="dcterms:W3CDTF">2024-06-19T14:26:49Z</dcterms:modified>
</cp:coreProperties>
</file>